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tags/tag19.xml" ContentType="application/vnd.openxmlformats-officedocument.presentationml.tags+xml"/>
  <Override PartName="/ppt/notesSlides/notesSlide23.xml" ContentType="application/vnd.openxmlformats-officedocument.presentationml.notesSlide+xml"/>
  <Override PartName="/ppt/tags/tag20.xml" ContentType="application/vnd.openxmlformats-officedocument.presentationml.tags+xml"/>
  <Override PartName="/ppt/notesSlides/notesSlide24.xml" ContentType="application/vnd.openxmlformats-officedocument.presentationml.notesSlide+xml"/>
  <Override PartName="/ppt/tags/tag21.xml" ContentType="application/vnd.openxmlformats-officedocument.presentationml.tags+xml"/>
  <Override PartName="/ppt/notesSlides/notesSlide25.xml" ContentType="application/vnd.openxmlformats-officedocument.presentationml.notesSlide+xml"/>
  <Override PartName="/ppt/tags/tag22.xml" ContentType="application/vnd.openxmlformats-officedocument.presentationml.tags+xml"/>
  <Override PartName="/ppt/notesSlides/notesSlide26.xml" ContentType="application/vnd.openxmlformats-officedocument.presentationml.notesSlide+xml"/>
  <Override PartName="/ppt/tags/tag23.xml" ContentType="application/vnd.openxmlformats-officedocument.presentationml.tags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notesSlides/notesSlide28.xml" ContentType="application/vnd.openxmlformats-officedocument.presentationml.notesSlide+xml"/>
  <Override PartName="/ppt/tags/tag25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4"/>
  </p:notesMasterIdLst>
  <p:handoutMasterIdLst>
    <p:handoutMasterId r:id="rId35"/>
  </p:handoutMasterIdLst>
  <p:sldIdLst>
    <p:sldId id="456" r:id="rId5"/>
    <p:sldId id="297" r:id="rId6"/>
    <p:sldId id="266" r:id="rId7"/>
    <p:sldId id="487" r:id="rId8"/>
    <p:sldId id="486" r:id="rId9"/>
    <p:sldId id="488" r:id="rId10"/>
    <p:sldId id="489" r:id="rId11"/>
    <p:sldId id="490" r:id="rId12"/>
    <p:sldId id="491" r:id="rId13"/>
    <p:sldId id="492" r:id="rId14"/>
    <p:sldId id="510" r:id="rId15"/>
    <p:sldId id="493" r:id="rId16"/>
    <p:sldId id="494" r:id="rId17"/>
    <p:sldId id="419" r:id="rId18"/>
    <p:sldId id="471" r:id="rId19"/>
    <p:sldId id="511" r:id="rId20"/>
    <p:sldId id="512" r:id="rId21"/>
    <p:sldId id="497" r:id="rId22"/>
    <p:sldId id="498" r:id="rId23"/>
    <p:sldId id="500" r:id="rId24"/>
    <p:sldId id="503" r:id="rId25"/>
    <p:sldId id="504" r:id="rId26"/>
    <p:sldId id="472" r:id="rId27"/>
    <p:sldId id="513" r:id="rId28"/>
    <p:sldId id="514" r:id="rId29"/>
    <p:sldId id="506" r:id="rId30"/>
    <p:sldId id="474" r:id="rId31"/>
    <p:sldId id="1098" r:id="rId32"/>
    <p:sldId id="1106" r:id="rId33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820" userDrawn="1">
          <p15:clr>
            <a:srgbClr val="A4A3A4"/>
          </p15:clr>
        </p15:guide>
        <p15:guide id="3" orient="horz" pos="3906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28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D9D9D9"/>
    <a:srgbClr val="FF3300"/>
    <a:srgbClr val="FFFFFF"/>
    <a:srgbClr val="435464"/>
    <a:srgbClr val="3B4C5E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518980-5B6D-4826-AC69-BE4814052F81}" v="1" dt="2025-03-13T00:55:29.2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91" autoAdjust="0"/>
    <p:restoredTop sz="71291" autoAdjust="0"/>
  </p:normalViewPr>
  <p:slideViewPr>
    <p:cSldViewPr snapToGrid="0">
      <p:cViewPr varScale="1">
        <p:scale>
          <a:sx n="77" d="100"/>
          <a:sy n="77" d="100"/>
        </p:scale>
        <p:origin x="2364" y="78"/>
      </p:cViewPr>
      <p:guideLst>
        <p:guide orient="horz" pos="482"/>
        <p:guide orient="horz" pos="1820"/>
        <p:guide orient="horz" pos="3906"/>
        <p:guide orient="horz" pos="1185"/>
        <p:guide pos="28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2B31884E-EA27-4243-B690-EA06E0251BCD}"/>
    <pc:docChg chg="undo custSel delSld modSld">
      <pc:chgData name="佐藤 悠哉" userId="faebc9e1-2a1d-42c8-8ba1-e1a81c5add00" providerId="ADAL" clId="{2B31884E-EA27-4243-B690-EA06E0251BCD}" dt="2024-12-16T05:25:39.836" v="18" actId="20577"/>
      <pc:docMkLst>
        <pc:docMk/>
      </pc:docMkLst>
      <pc:sldChg chg="modSp mod">
        <pc:chgData name="佐藤 悠哉" userId="faebc9e1-2a1d-42c8-8ba1-e1a81c5add00" providerId="ADAL" clId="{2B31884E-EA27-4243-B690-EA06E0251BCD}" dt="2024-12-16T05:24:19.598" v="15" actId="20577"/>
        <pc:sldMkLst>
          <pc:docMk/>
          <pc:sldMk cId="3308167297" sldId="456"/>
        </pc:sldMkLst>
        <pc:spChg chg="mod">
          <ac:chgData name="佐藤 悠哉" userId="faebc9e1-2a1d-42c8-8ba1-e1a81c5add00" providerId="ADAL" clId="{2B31884E-EA27-4243-B690-EA06E0251BCD}" dt="2024-12-16T05:24:19.598" v="15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Tx">
        <pc:chgData name="佐藤 悠哉" userId="faebc9e1-2a1d-42c8-8ba1-e1a81c5add00" providerId="ADAL" clId="{2B31884E-EA27-4243-B690-EA06E0251BCD}" dt="2024-12-16T05:25:39.836" v="18" actId="20577"/>
        <pc:sldMkLst>
          <pc:docMk/>
          <pc:sldMk cId="1093012812" sldId="474"/>
        </pc:sldMkLst>
      </pc:sldChg>
      <pc:sldChg chg="addSp delSp modSp mod">
        <pc:chgData name="佐藤 悠哉" userId="faebc9e1-2a1d-42c8-8ba1-e1a81c5add00" providerId="ADAL" clId="{2B31884E-EA27-4243-B690-EA06E0251BCD}" dt="2024-11-26T05:41:50.180" v="8" actId="478"/>
        <pc:sldMkLst>
          <pc:docMk/>
          <pc:sldMk cId="1788856774" sldId="486"/>
        </pc:sldMkLst>
        <pc:grpChg chg="del">
          <ac:chgData name="佐藤 悠哉" userId="faebc9e1-2a1d-42c8-8ba1-e1a81c5add00" providerId="ADAL" clId="{2B31884E-EA27-4243-B690-EA06E0251BCD}" dt="2024-11-26T05:41:50.180" v="8" actId="478"/>
          <ac:grpSpMkLst>
            <pc:docMk/>
            <pc:sldMk cId="1788856774" sldId="486"/>
            <ac:grpSpMk id="23" creationId="{A5A51F9E-21F7-E1A5-B9B3-5C851A62788A}"/>
          </ac:grpSpMkLst>
        </pc:grpChg>
        <pc:picChg chg="add mod ord">
          <ac:chgData name="佐藤 悠哉" userId="faebc9e1-2a1d-42c8-8ba1-e1a81c5add00" providerId="ADAL" clId="{2B31884E-EA27-4243-B690-EA06E0251BCD}" dt="2024-11-26T05:41:48.741" v="7" actId="167"/>
          <ac:picMkLst>
            <pc:docMk/>
            <pc:sldMk cId="1788856774" sldId="486"/>
            <ac:picMk id="7" creationId="{C9D0D5CF-779B-BD37-05E7-7DC8207BC73E}"/>
          </ac:picMkLst>
        </pc:picChg>
      </pc:sldChg>
      <pc:sldChg chg="modSp mod">
        <pc:chgData name="佐藤 悠哉" userId="faebc9e1-2a1d-42c8-8ba1-e1a81c5add00" providerId="ADAL" clId="{2B31884E-EA27-4243-B690-EA06E0251BCD}" dt="2024-11-26T06:15:40.827" v="10" actId="1076"/>
        <pc:sldMkLst>
          <pc:docMk/>
          <pc:sldMk cId="1685363328" sldId="487"/>
        </pc:sldMkLst>
        <pc:picChg chg="mod">
          <ac:chgData name="佐藤 悠哉" userId="faebc9e1-2a1d-42c8-8ba1-e1a81c5add00" providerId="ADAL" clId="{2B31884E-EA27-4243-B690-EA06E0251BCD}" dt="2024-11-26T06:15:40.827" v="10" actId="1076"/>
          <ac:picMkLst>
            <pc:docMk/>
            <pc:sldMk cId="1685363328" sldId="487"/>
            <ac:picMk id="15" creationId="{D329F688-6431-E3DD-DC80-E7096801EB7A}"/>
          </ac:picMkLst>
        </pc:picChg>
      </pc:sldChg>
      <pc:sldChg chg="modSp mod">
        <pc:chgData name="佐藤 悠哉" userId="faebc9e1-2a1d-42c8-8ba1-e1a81c5add00" providerId="ADAL" clId="{2B31884E-EA27-4243-B690-EA06E0251BCD}" dt="2024-11-26T06:35:05.588" v="11" actId="20577"/>
        <pc:sldMkLst>
          <pc:docMk/>
          <pc:sldMk cId="12661891" sldId="491"/>
        </pc:sldMkLst>
        <pc:spChg chg="mod">
          <ac:chgData name="佐藤 悠哉" userId="faebc9e1-2a1d-42c8-8ba1-e1a81c5add00" providerId="ADAL" clId="{2B31884E-EA27-4243-B690-EA06E0251BCD}" dt="2024-11-26T06:35:05.588" v="11" actId="20577"/>
          <ac:spMkLst>
            <pc:docMk/>
            <pc:sldMk cId="12661891" sldId="491"/>
            <ac:spMk id="41" creationId="{69660FC3-B534-9C41-1306-27E5DA37BF1B}"/>
          </ac:spMkLst>
        </pc:spChg>
      </pc:sldChg>
      <pc:sldChg chg="modNotesTx">
        <pc:chgData name="佐藤 悠哉" userId="faebc9e1-2a1d-42c8-8ba1-e1a81c5add00" providerId="ADAL" clId="{2B31884E-EA27-4243-B690-EA06E0251BCD}" dt="2024-11-15T08:30:29.628" v="1" actId="20577"/>
        <pc:sldMkLst>
          <pc:docMk/>
          <pc:sldMk cId="1974222212" sldId="504"/>
        </pc:sldMkLst>
      </pc:sldChg>
      <pc:sldChg chg="del">
        <pc:chgData name="佐藤 悠哉" userId="faebc9e1-2a1d-42c8-8ba1-e1a81c5add00" providerId="ADAL" clId="{2B31884E-EA27-4243-B690-EA06E0251BCD}" dt="2024-11-15T08:29:31.720" v="0" actId="47"/>
        <pc:sldMkLst>
          <pc:docMk/>
          <pc:sldMk cId="1515444699" sldId="516"/>
        </pc:sldMkLst>
      </pc:sldChg>
    </pc:docChg>
  </pc:docChgLst>
  <pc:docChgLst>
    <pc:chgData name="山田 英治" userId="9ffee3f4-f216-48e4-9b3d-afa6a3405312" providerId="ADAL" clId="{DCE93AD1-B688-4111-937E-1316B33DB7B0}"/>
    <pc:docChg chg="custSel modSld modNotesMaster">
      <pc:chgData name="山田 英治" userId="9ffee3f4-f216-48e4-9b3d-afa6a3405312" providerId="ADAL" clId="{DCE93AD1-B688-4111-937E-1316B33DB7B0}" dt="2024-11-15T01:36:05.508" v="70" actId="478"/>
      <pc:docMkLst>
        <pc:docMk/>
      </pc:docMkLst>
      <pc:sldChg chg="modNotes">
        <pc:chgData name="山田 英治" userId="9ffee3f4-f216-48e4-9b3d-afa6a3405312" providerId="ADAL" clId="{DCE93AD1-B688-4111-937E-1316B33DB7B0}" dt="2024-11-15T01:33:05.006" v="22" actId="478"/>
        <pc:sldMkLst>
          <pc:docMk/>
          <pc:sldMk cId="1393760011" sldId="266"/>
        </pc:sldMkLst>
      </pc:sldChg>
      <pc:sldChg chg="modNotes">
        <pc:chgData name="山田 英治" userId="9ffee3f4-f216-48e4-9b3d-afa6a3405312" providerId="ADAL" clId="{DCE93AD1-B688-4111-937E-1316B33DB7B0}" dt="2024-11-15T01:32:57.198" v="20" actId="478"/>
        <pc:sldMkLst>
          <pc:docMk/>
          <pc:sldMk cId="556461774" sldId="297"/>
        </pc:sldMkLst>
      </pc:sldChg>
      <pc:sldChg chg="modNotes">
        <pc:chgData name="山田 英治" userId="9ffee3f4-f216-48e4-9b3d-afa6a3405312" providerId="ADAL" clId="{DCE93AD1-B688-4111-937E-1316B33DB7B0}" dt="2024-11-15T01:34:21.740" v="44" actId="478"/>
        <pc:sldMkLst>
          <pc:docMk/>
          <pc:sldMk cId="395716941" sldId="419"/>
        </pc:sldMkLst>
      </pc:sldChg>
      <pc:sldChg chg="modNotes">
        <pc:chgData name="山田 英治" userId="9ffee3f4-f216-48e4-9b3d-afa6a3405312" providerId="ADAL" clId="{DCE93AD1-B688-4111-937E-1316B33DB7B0}" dt="2024-11-15T01:32:41.274" v="16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DCE93AD1-B688-4111-937E-1316B33DB7B0}" dt="2024-11-15T01:34:31.933" v="46" actId="478"/>
        <pc:sldMkLst>
          <pc:docMk/>
          <pc:sldMk cId="2088875653" sldId="471"/>
        </pc:sldMkLst>
      </pc:sldChg>
      <pc:sldChg chg="modNotes">
        <pc:chgData name="山田 英治" userId="9ffee3f4-f216-48e4-9b3d-afa6a3405312" providerId="ADAL" clId="{DCE93AD1-B688-4111-937E-1316B33DB7B0}" dt="2024-11-15T01:35:41.094" v="62" actId="478"/>
        <pc:sldMkLst>
          <pc:docMk/>
          <pc:sldMk cId="555650413" sldId="472"/>
        </pc:sldMkLst>
      </pc:sldChg>
      <pc:sldChg chg="modNotes">
        <pc:chgData name="山田 英治" userId="9ffee3f4-f216-48e4-9b3d-afa6a3405312" providerId="ADAL" clId="{DCE93AD1-B688-4111-937E-1316B33DB7B0}" dt="2024-11-15T01:36:05.508" v="70" actId="478"/>
        <pc:sldMkLst>
          <pc:docMk/>
          <pc:sldMk cId="1093012812" sldId="474"/>
        </pc:sldMkLst>
      </pc:sldChg>
      <pc:sldChg chg="modNotes">
        <pc:chgData name="山田 英治" userId="9ffee3f4-f216-48e4-9b3d-afa6a3405312" providerId="ADAL" clId="{DCE93AD1-B688-4111-937E-1316B33DB7B0}" dt="2024-11-15T01:33:20.039" v="26" actId="478"/>
        <pc:sldMkLst>
          <pc:docMk/>
          <pc:sldMk cId="1788856774" sldId="486"/>
        </pc:sldMkLst>
      </pc:sldChg>
      <pc:sldChg chg="modNotes">
        <pc:chgData name="山田 英治" userId="9ffee3f4-f216-48e4-9b3d-afa6a3405312" providerId="ADAL" clId="{DCE93AD1-B688-4111-937E-1316B33DB7B0}" dt="2024-11-15T01:33:13.856" v="24" actId="478"/>
        <pc:sldMkLst>
          <pc:docMk/>
          <pc:sldMk cId="1685363328" sldId="487"/>
        </pc:sldMkLst>
      </pc:sldChg>
      <pc:sldChg chg="modNotes">
        <pc:chgData name="山田 英治" userId="9ffee3f4-f216-48e4-9b3d-afa6a3405312" providerId="ADAL" clId="{DCE93AD1-B688-4111-937E-1316B33DB7B0}" dt="2024-11-15T01:33:27.432" v="28" actId="478"/>
        <pc:sldMkLst>
          <pc:docMk/>
          <pc:sldMk cId="3490201234" sldId="488"/>
        </pc:sldMkLst>
      </pc:sldChg>
      <pc:sldChg chg="modNotes">
        <pc:chgData name="山田 英治" userId="9ffee3f4-f216-48e4-9b3d-afa6a3405312" providerId="ADAL" clId="{DCE93AD1-B688-4111-937E-1316B33DB7B0}" dt="2024-11-15T01:33:35.080" v="30" actId="478"/>
        <pc:sldMkLst>
          <pc:docMk/>
          <pc:sldMk cId="806437809" sldId="489"/>
        </pc:sldMkLst>
      </pc:sldChg>
      <pc:sldChg chg="modNotes">
        <pc:chgData name="山田 英治" userId="9ffee3f4-f216-48e4-9b3d-afa6a3405312" providerId="ADAL" clId="{DCE93AD1-B688-4111-937E-1316B33DB7B0}" dt="2024-11-15T01:33:41.846" v="32" actId="478"/>
        <pc:sldMkLst>
          <pc:docMk/>
          <pc:sldMk cId="1282494848" sldId="490"/>
        </pc:sldMkLst>
      </pc:sldChg>
      <pc:sldChg chg="modNotes">
        <pc:chgData name="山田 英治" userId="9ffee3f4-f216-48e4-9b3d-afa6a3405312" providerId="ADAL" clId="{DCE93AD1-B688-4111-937E-1316B33DB7B0}" dt="2024-11-15T01:33:51.143" v="34" actId="478"/>
        <pc:sldMkLst>
          <pc:docMk/>
          <pc:sldMk cId="12661891" sldId="491"/>
        </pc:sldMkLst>
      </pc:sldChg>
      <pc:sldChg chg="modNotes">
        <pc:chgData name="山田 英治" userId="9ffee3f4-f216-48e4-9b3d-afa6a3405312" providerId="ADAL" clId="{DCE93AD1-B688-4111-937E-1316B33DB7B0}" dt="2024-11-15T01:33:57.175" v="36" actId="478"/>
        <pc:sldMkLst>
          <pc:docMk/>
          <pc:sldMk cId="3206099778" sldId="492"/>
        </pc:sldMkLst>
      </pc:sldChg>
      <pc:sldChg chg="modNotes">
        <pc:chgData name="山田 英治" userId="9ffee3f4-f216-48e4-9b3d-afa6a3405312" providerId="ADAL" clId="{DCE93AD1-B688-4111-937E-1316B33DB7B0}" dt="2024-11-15T01:34:09.776" v="40" actId="478"/>
        <pc:sldMkLst>
          <pc:docMk/>
          <pc:sldMk cId="2985831689" sldId="493"/>
        </pc:sldMkLst>
      </pc:sldChg>
      <pc:sldChg chg="modNotes">
        <pc:chgData name="山田 英治" userId="9ffee3f4-f216-48e4-9b3d-afa6a3405312" providerId="ADAL" clId="{DCE93AD1-B688-4111-937E-1316B33DB7B0}" dt="2024-11-15T01:34:15.664" v="42" actId="478"/>
        <pc:sldMkLst>
          <pc:docMk/>
          <pc:sldMk cId="692534981" sldId="494"/>
        </pc:sldMkLst>
      </pc:sldChg>
      <pc:sldChg chg="modNotes">
        <pc:chgData name="山田 英治" userId="9ffee3f4-f216-48e4-9b3d-afa6a3405312" providerId="ADAL" clId="{DCE93AD1-B688-4111-937E-1316B33DB7B0}" dt="2024-11-15T01:34:55.078" v="52" actId="478"/>
        <pc:sldMkLst>
          <pc:docMk/>
          <pc:sldMk cId="3447762832" sldId="497"/>
        </pc:sldMkLst>
      </pc:sldChg>
      <pc:sldChg chg="modNotes">
        <pc:chgData name="山田 英治" userId="9ffee3f4-f216-48e4-9b3d-afa6a3405312" providerId="ADAL" clId="{DCE93AD1-B688-4111-937E-1316B33DB7B0}" dt="2024-11-15T01:35:02.662" v="54" actId="478"/>
        <pc:sldMkLst>
          <pc:docMk/>
          <pc:sldMk cId="460396320" sldId="498"/>
        </pc:sldMkLst>
      </pc:sldChg>
      <pc:sldChg chg="modNotes">
        <pc:chgData name="山田 英治" userId="9ffee3f4-f216-48e4-9b3d-afa6a3405312" providerId="ADAL" clId="{DCE93AD1-B688-4111-937E-1316B33DB7B0}" dt="2024-11-15T01:35:20.686" v="56" actId="478"/>
        <pc:sldMkLst>
          <pc:docMk/>
          <pc:sldMk cId="3464830119" sldId="500"/>
        </pc:sldMkLst>
      </pc:sldChg>
      <pc:sldChg chg="modNotes">
        <pc:chgData name="山田 英治" userId="9ffee3f4-f216-48e4-9b3d-afa6a3405312" providerId="ADAL" clId="{DCE93AD1-B688-4111-937E-1316B33DB7B0}" dt="2024-11-15T01:35:27.263" v="58" actId="478"/>
        <pc:sldMkLst>
          <pc:docMk/>
          <pc:sldMk cId="2305014815" sldId="503"/>
        </pc:sldMkLst>
      </pc:sldChg>
      <pc:sldChg chg="modNotes">
        <pc:chgData name="山田 英治" userId="9ffee3f4-f216-48e4-9b3d-afa6a3405312" providerId="ADAL" clId="{DCE93AD1-B688-4111-937E-1316B33DB7B0}" dt="2024-11-15T01:35:34.479" v="60" actId="478"/>
        <pc:sldMkLst>
          <pc:docMk/>
          <pc:sldMk cId="1974222212" sldId="504"/>
        </pc:sldMkLst>
      </pc:sldChg>
      <pc:sldChg chg="modNotes">
        <pc:chgData name="山田 英治" userId="9ffee3f4-f216-48e4-9b3d-afa6a3405312" providerId="ADAL" clId="{DCE93AD1-B688-4111-937E-1316B33DB7B0}" dt="2024-11-15T01:35:59.933" v="68" actId="478"/>
        <pc:sldMkLst>
          <pc:docMk/>
          <pc:sldMk cId="985343269" sldId="506"/>
        </pc:sldMkLst>
      </pc:sldChg>
      <pc:sldChg chg="modNotes">
        <pc:chgData name="山田 英治" userId="9ffee3f4-f216-48e4-9b3d-afa6a3405312" providerId="ADAL" clId="{DCE93AD1-B688-4111-937E-1316B33DB7B0}" dt="2024-11-15T01:34:03.219" v="38" actId="478"/>
        <pc:sldMkLst>
          <pc:docMk/>
          <pc:sldMk cId="4069004500" sldId="510"/>
        </pc:sldMkLst>
      </pc:sldChg>
      <pc:sldChg chg="modNotes">
        <pc:chgData name="山田 英治" userId="9ffee3f4-f216-48e4-9b3d-afa6a3405312" providerId="ADAL" clId="{DCE93AD1-B688-4111-937E-1316B33DB7B0}" dt="2024-11-15T01:34:38.400" v="48" actId="478"/>
        <pc:sldMkLst>
          <pc:docMk/>
          <pc:sldMk cId="3151850889" sldId="511"/>
        </pc:sldMkLst>
      </pc:sldChg>
      <pc:sldChg chg="modNotes">
        <pc:chgData name="山田 英治" userId="9ffee3f4-f216-48e4-9b3d-afa6a3405312" providerId="ADAL" clId="{DCE93AD1-B688-4111-937E-1316B33DB7B0}" dt="2024-11-15T01:34:47.179" v="50" actId="478"/>
        <pc:sldMkLst>
          <pc:docMk/>
          <pc:sldMk cId="3836777916" sldId="512"/>
        </pc:sldMkLst>
      </pc:sldChg>
      <pc:sldChg chg="modNotes">
        <pc:chgData name="山田 英治" userId="9ffee3f4-f216-48e4-9b3d-afa6a3405312" providerId="ADAL" clId="{DCE93AD1-B688-4111-937E-1316B33DB7B0}" dt="2024-11-15T01:35:47.163" v="64" actId="478"/>
        <pc:sldMkLst>
          <pc:docMk/>
          <pc:sldMk cId="779982731" sldId="513"/>
        </pc:sldMkLst>
      </pc:sldChg>
      <pc:sldChg chg="modNotes">
        <pc:chgData name="山田 英治" userId="9ffee3f4-f216-48e4-9b3d-afa6a3405312" providerId="ADAL" clId="{DCE93AD1-B688-4111-937E-1316B33DB7B0}" dt="2024-11-15T01:35:53.394" v="66" actId="478"/>
        <pc:sldMkLst>
          <pc:docMk/>
          <pc:sldMk cId="208527725" sldId="514"/>
        </pc:sldMkLst>
      </pc:sldChg>
    </pc:docChg>
  </pc:docChgLst>
  <pc:docChgLst>
    <pc:chgData name="佐藤 悠哉" userId="faebc9e1-2a1d-42c8-8ba1-e1a81c5add00" providerId="ADAL" clId="{83518980-5B6D-4826-AC69-BE4814052F81}"/>
    <pc:docChg chg="addSld delSld modSld">
      <pc:chgData name="佐藤 悠哉" userId="faebc9e1-2a1d-42c8-8ba1-e1a81c5add00" providerId="ADAL" clId="{83518980-5B6D-4826-AC69-BE4814052F81}" dt="2025-03-13T00:55:29.208" v="1"/>
      <pc:docMkLst>
        <pc:docMk/>
      </pc:docMkLst>
      <pc:sldChg chg="del">
        <pc:chgData name="佐藤 悠哉" userId="faebc9e1-2a1d-42c8-8ba1-e1a81c5add00" providerId="ADAL" clId="{83518980-5B6D-4826-AC69-BE4814052F81}" dt="2025-03-13T00:55:27.164" v="0" actId="47"/>
        <pc:sldMkLst>
          <pc:docMk/>
          <pc:sldMk cId="453768401" sldId="515"/>
        </pc:sldMkLst>
      </pc:sldChg>
      <pc:sldChg chg="add">
        <pc:chgData name="佐藤 悠哉" userId="faebc9e1-2a1d-42c8-8ba1-e1a81c5add00" providerId="ADAL" clId="{83518980-5B6D-4826-AC69-BE4814052F81}" dt="2025-03-13T00:55:29.208" v="1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83518980-5B6D-4826-AC69-BE4814052F81}" dt="2025-03-13T00:55:29.208" v="1"/>
        <pc:sldMkLst>
          <pc:docMk/>
          <pc:sldMk cId="449840931" sldId="1106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E9E6741D-07CC-489A-1B7F-E2488CDBB09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r>
              <a:rPr kumimoji="1" lang="en-US" altLang="ja-JP"/>
              <a:t>1</a:t>
            </a:r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B9CFCA39-132E-1C76-9265-76DA7264E6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268ABE09-8F39-4C19-952C-00F55D0B1C04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EA33529-3A5C-BA33-8EA9-9253DBC406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E777A0C-C494-66A8-0216-F961D91612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845366FE-341F-4FD9-BD19-041E613E45B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249929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r>
              <a:rPr kumimoji="1" lang="en-US" altLang="ja-JP"/>
              <a:t>1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8500" y="622300"/>
            <a:ext cx="5348288" cy="4010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107798" y="4749691"/>
            <a:ext cx="6521755" cy="3886111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F494B56-9E49-C3A1-D235-2FF5F1D92B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617FA31F-C7DD-B227-655A-64C8E830D043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AA99AE2-DDF8-888D-C08A-7492F6DC7C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900D184-ED30-AE81-8275-B6AB0E6DB1A2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523940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EE99C878-C6D5-AE6A-256E-FC9568B671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24E74176-A96F-B2D4-365A-C96377DDBF8E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49794DB6-E5E5-2764-A79C-7350B51B76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E581F2CC-E803-4605-EFE4-F5A656817B79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8467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C560359-FDB3-62AA-3AB2-472B601A50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64D31CC-F1ED-AE95-80EC-5BEFF0C4E853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479335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6D246F27-7E53-CF8D-AAFC-C4C9621E2E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0A85FEB-6D7F-745C-3825-9545FE3E3790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D7B3C9C-A719-83FB-2343-AA015CC8E9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6D956F09-AB6D-BDAF-63F9-DAAA338465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BEA1F39-3C4B-D7E8-BA3F-B2E0215FEA71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78647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0A0232A-8D4F-073E-4ACA-C7F960BE8D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490A56D6-9035-613C-A9E1-4BAE0C513222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093424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119AF30-97C1-3377-052A-D13B061740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DF82A76-CEE8-F5DF-69BD-3140C97B8DA5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64289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64A5232-020C-E94E-3A31-6F0192401A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4CF09DC-166C-6B9B-6D4B-E16B1FD49CB4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328350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96FBFD3F-557C-3497-2F7D-B32EBA9A3B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D21998F-55DB-1D9E-658D-21D358C42111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88069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A81A4B9D-FE86-1DE8-B7E8-E44E0938C3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72F91F5-9313-9515-DF84-13D4309C77FE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391779F0-F605-375C-5945-15F84871BA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0EC6446-8966-297C-DBE2-E77380BF3221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97519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EBD4B63C-99D6-0D57-5B0F-FD5D51EC9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AF3D7B9-BA3B-3DF3-0B40-E43BF4D3D74B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78230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9AC581D0-719E-90D1-179A-09BE65B7EC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0DA9E23-F3F6-1B3E-52BA-803F4DBE2906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336973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185C8DF-FD16-5736-240E-554A4586C0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DDA49896-E44F-AA12-4F04-5791651E63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715CB83-268E-E101-73BE-95F24B7FC8E5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653591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C57C7B9-AD9B-540D-8AB6-250018C3D3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C7B2551-D923-3B4C-D2D8-3064864B261A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41670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10FD7267-67B8-1681-0A82-499329EE05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0D03BA0-9785-16E9-57FB-13E6E412D1D5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304606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D6A3A045-24BD-EA79-1378-4E11166BFD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667AA3D-85EF-0F17-A94A-26B4B50292EA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242220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25B202D-A35D-9B49-9EC6-8B0BD64FAD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BCA00FA-489C-713C-6EC2-E05A4FCF9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2A88B65-8F06-B366-50DC-CC7C249E09A0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24744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8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55AC731-2BEC-DD7B-9ADB-5DD1A485EF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F7FC0AFC-4B09-5EA7-81C8-0D88301F3D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9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C1C5CD10-BA33-6CCB-A8EE-435C16D495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1B722065-C3D1-0AFA-D3D8-50313C1B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CCA13DD8-5C82-9E2E-2B9E-DEAD299966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6A59D020-54DE-7C11-B91F-34A88B3A1FE7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11" name="スライド イメージ プレースホルダー 10">
            <a:extLst>
              <a:ext uri="{FF2B5EF4-FFF2-40B4-BE49-F238E27FC236}">
                <a16:creationId xmlns:a16="http://schemas.microsoft.com/office/drawing/2014/main" id="{8F9BEAD7-C596-7FB4-A26A-F0415FC013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91BA48D-B384-D925-0291-2FEAB67A1A3B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1333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11" name="スライド イメージ プレースホルダー 10">
            <a:extLst>
              <a:ext uri="{FF2B5EF4-FFF2-40B4-BE49-F238E27FC236}">
                <a16:creationId xmlns:a16="http://schemas.microsoft.com/office/drawing/2014/main" id="{C83E9AE4-B132-7632-2DBD-122A81EA46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FCFC2CB-8353-009E-D4DF-10F7E72CA1D8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90976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11" name="スライド イメージ プレースホルダー 10">
            <a:extLst>
              <a:ext uri="{FF2B5EF4-FFF2-40B4-BE49-F238E27FC236}">
                <a16:creationId xmlns:a16="http://schemas.microsoft.com/office/drawing/2014/main" id="{DD675F60-D19D-EA3C-1F69-B6E90C2EB4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2A52B10-CF6B-A4EC-4DC2-13CA8DA3B64C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41067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A60F81D4-75E0-529F-78EF-D3DF08FD33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2F19F31-4FB0-6AFC-9964-6B401BB5BC30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536022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7AA74A37-F897-111C-47FD-520D7102F1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22FED19F-8FF7-1F93-3370-B63FF6D04156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284862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A8651BFD-2959-2483-2C98-E99BF2145C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A2FAC97-B25B-D84A-D389-9161A1990C9E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40039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image" Target="../media/image10.png"/><Relationship Id="rId4" Type="http://schemas.openxmlformats.org/officeDocument/2006/relationships/image" Target="../media/image15.png"/><Relationship Id="rId9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1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6.png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4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2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1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6.png"/><Relationship Id="rId9" Type="http://schemas.openxmlformats.org/officeDocument/2006/relationships/image" Target="../media/image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12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9.png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6.png"/><Relationship Id="rId9" Type="http://schemas.openxmlformats.org/officeDocument/2006/relationships/image" Target="../media/image4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12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6" Type="http://schemas.openxmlformats.org/officeDocument/2006/relationships/image" Target="../media/image20.png"/><Relationship Id="rId11" Type="http://schemas.openxmlformats.org/officeDocument/2006/relationships/image" Target="../media/image36.png"/><Relationship Id="rId5" Type="http://schemas.openxmlformats.org/officeDocument/2006/relationships/image" Target="../media/image4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9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diagramData" Target="../diagrams/data1.xml"/><Relationship Id="rId5" Type="http://schemas.openxmlformats.org/officeDocument/2006/relationships/image" Target="../media/image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の入れ方、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操作の仕方を知ろ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 descr="電源が入っているスマートフォンの画面の画像">
            <a:extLst>
              <a:ext uri="{FF2B5EF4-FFF2-40B4-BE49-F238E27FC236}">
                <a16:creationId xmlns:a16="http://schemas.microsoft.com/office/drawing/2014/main" id="{578EACA5-5A49-62D5-A759-BBAA0B9E58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291"/>
          <a:stretch/>
        </p:blipFill>
        <p:spPr>
          <a:xfrm>
            <a:off x="1158073" y="2256051"/>
            <a:ext cx="2460976" cy="4589066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3D78748E-4297-CC91-B939-FCFCDAB6C50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4"/>
          <a:stretch/>
        </p:blipFill>
        <p:spPr>
          <a:xfrm>
            <a:off x="5733192" y="2207023"/>
            <a:ext cx="2566861" cy="4638096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7FF030B8-9B2F-6EC7-AB1C-EFCA0E42AA22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969796" y="2382132"/>
            <a:ext cx="2012693" cy="4301666"/>
          </a:xfrm>
          <a:prstGeom prst="rect">
            <a:avLst/>
          </a:prstGeom>
        </p:spPr>
      </p:pic>
      <p:pic>
        <p:nvPicPr>
          <p:cNvPr id="27" name="図 26">
            <a:extLst>
              <a:ext uri="{FF2B5EF4-FFF2-40B4-BE49-F238E27FC236}">
                <a16:creationId xmlns:a16="http://schemas.microsoft.com/office/drawing/2014/main" id="{50551455-9FA2-0319-47BB-B7C55F8380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0240" y="2309906"/>
            <a:ext cx="2002574" cy="233157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F5CD8B1C-756A-9065-8F6A-5734B6DDFA72}"/>
              </a:ext>
            </a:extLst>
          </p:cNvPr>
          <p:cNvSpPr/>
          <p:nvPr/>
        </p:nvSpPr>
        <p:spPr>
          <a:xfrm>
            <a:off x="5965605" y="2484822"/>
            <a:ext cx="1979941" cy="69297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切るとき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06423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004331" y="1389575"/>
            <a:ext cx="3756384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か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を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時に３秒程度長押し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6782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C9121263-4C09-929D-3AE4-47518A8FA380}"/>
              </a:ext>
            </a:extLst>
          </p:cNvPr>
          <p:cNvSpPr txBox="1"/>
          <p:nvPr/>
        </p:nvSpPr>
        <p:spPr>
          <a:xfrm>
            <a:off x="430056" y="3357467"/>
            <a:ext cx="910277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2ED46D65-F9A3-5D78-AC78-D7C058387275}"/>
              </a:ext>
            </a:extLst>
          </p:cNvPr>
          <p:cNvSpPr txBox="1"/>
          <p:nvPr/>
        </p:nvSpPr>
        <p:spPr>
          <a:xfrm>
            <a:off x="5464707" y="1393221"/>
            <a:ext cx="3428467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ライドで電源オフ</a:t>
            </a: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左から右にスライドすると電源が切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A02890D-3644-1C95-538A-388F2830FB1F}"/>
              </a:ext>
            </a:extLst>
          </p:cNvPr>
          <p:cNvSpPr txBox="1"/>
          <p:nvPr/>
        </p:nvSpPr>
        <p:spPr>
          <a:xfrm>
            <a:off x="49273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D06DFF7E-E95E-4250-3FF7-A9B128639E9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11253" t="22194" r="-23213" b="58183"/>
          <a:stretch/>
        </p:blipFill>
        <p:spPr>
          <a:xfrm>
            <a:off x="3676016" y="3173718"/>
            <a:ext cx="514349" cy="1027909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FAC9E6CC-4806-A6DC-42E0-BBBB00B4D53E}"/>
              </a:ext>
            </a:extLst>
          </p:cNvPr>
          <p:cNvSpPr txBox="1"/>
          <p:nvPr/>
        </p:nvSpPr>
        <p:spPr>
          <a:xfrm>
            <a:off x="4146677" y="3509301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4EB8825B-967D-97BA-A8E5-C05066046F2D}"/>
              </a:ext>
            </a:extLst>
          </p:cNvPr>
          <p:cNvSpPr/>
          <p:nvPr/>
        </p:nvSpPr>
        <p:spPr>
          <a:xfrm>
            <a:off x="3424553" y="3420919"/>
            <a:ext cx="189095" cy="63673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CE41DECA-3C00-6718-94FB-465FFDFD8BE1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3519101" y="3187700"/>
            <a:ext cx="250259" cy="23321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F88802D2-A7EA-6D4B-D6F5-1103722BA462}"/>
              </a:ext>
            </a:extLst>
          </p:cNvPr>
          <p:cNvCxnSpPr>
            <a:cxnSpLocks/>
          </p:cNvCxnSpPr>
          <p:nvPr/>
        </p:nvCxnSpPr>
        <p:spPr>
          <a:xfrm>
            <a:off x="3569654" y="4079167"/>
            <a:ext cx="184763" cy="11151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字幕 14">
            <a:extLst>
              <a:ext uri="{FF2B5EF4-FFF2-40B4-BE49-F238E27FC236}">
                <a16:creationId xmlns:a16="http://schemas.microsoft.com/office/drawing/2014/main" id="{3BBAA62D-5DD8-D3B4-1CE3-BFF344E7AD5B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上矢印 81">
            <a:extLst>
              <a:ext uri="{FF2B5EF4-FFF2-40B4-BE49-F238E27FC236}">
                <a16:creationId xmlns:a16="http://schemas.microsoft.com/office/drawing/2014/main" id="{1585C720-2B3E-97BC-B449-8504EEF32F88}"/>
              </a:ext>
            </a:extLst>
          </p:cNvPr>
          <p:cNvSpPr>
            <a:spLocks/>
          </p:cNvSpPr>
          <p:nvPr/>
        </p:nvSpPr>
        <p:spPr>
          <a:xfrm rot="5400000">
            <a:off x="7007372" y="2660653"/>
            <a:ext cx="507405" cy="1441894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399BFBA-A741-3D2F-8C6A-C0B2B2B8610D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F620327-E558-D9F4-4DFB-1841DFCDDC77}"/>
              </a:ext>
            </a:extLst>
          </p:cNvPr>
          <p:cNvSpPr/>
          <p:nvPr/>
        </p:nvSpPr>
        <p:spPr>
          <a:xfrm>
            <a:off x="1215862" y="3325663"/>
            <a:ext cx="184763" cy="875964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06099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pic>
        <p:nvPicPr>
          <p:cNvPr id="9" name="図 8" descr="アイコン&#10;&#10;自動的に生成された説明">
            <a:extLst>
              <a:ext uri="{FF2B5EF4-FFF2-40B4-BE49-F238E27FC236}">
                <a16:creationId xmlns:a16="http://schemas.microsoft.com/office/drawing/2014/main" id="{6C505677-3D5B-9AF5-3A47-13387A328FE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572" r="12593"/>
          <a:stretch/>
        </p:blipFill>
        <p:spPr>
          <a:xfrm>
            <a:off x="6950472" y="4538924"/>
            <a:ext cx="1638861" cy="1975757"/>
          </a:xfrm>
          <a:prstGeom prst="rect">
            <a:avLst/>
          </a:prstGeom>
        </p:spPr>
      </p:pic>
      <p:sp>
        <p:nvSpPr>
          <p:cNvPr id="11" name="タイトル 1">
            <a:extLst>
              <a:ext uri="{FF2B5EF4-FFF2-40B4-BE49-F238E27FC236}">
                <a16:creationId xmlns:a16="http://schemas.microsoft.com/office/drawing/2014/main" id="{9FDBDFC6-C151-9C89-704B-C987A449472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12" name="字幕 14">
            <a:extLst>
              <a:ext uri="{FF2B5EF4-FFF2-40B4-BE49-F238E27FC236}">
                <a16:creationId xmlns:a16="http://schemas.microsoft.com/office/drawing/2014/main" id="{942BBA4C-C6DC-6E6A-FC3F-8615FBD4C79A}"/>
              </a:ext>
            </a:extLst>
          </p:cNvPr>
          <p:cNvSpPr txBox="1">
            <a:spLocks/>
          </p:cNvSpPr>
          <p:nvPr/>
        </p:nvSpPr>
        <p:spPr>
          <a:xfrm>
            <a:off x="234519" y="1032518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とは？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B547073-A080-14EE-234E-F98F59AB6BA2}"/>
              </a:ext>
            </a:extLst>
          </p:cNvPr>
          <p:cNvSpPr txBox="1"/>
          <p:nvPr/>
        </p:nvSpPr>
        <p:spPr>
          <a:xfrm>
            <a:off x="362659" y="5096944"/>
            <a:ext cx="7541863" cy="1629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意図しないタッチ操作による誤操作の防止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余計なバッテリー消費の防止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スマートフォンの電池劣化防止が期待できる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写真やメールなど見られたくない情報の盗み見防止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字幕 14">
            <a:extLst>
              <a:ext uri="{FF2B5EF4-FFF2-40B4-BE49-F238E27FC236}">
                <a16:creationId xmlns:a16="http://schemas.microsoft.com/office/drawing/2014/main" id="{0061D90B-6F39-CBFA-BD6B-FE7F9E5FA436}"/>
              </a:ext>
            </a:extLst>
          </p:cNvPr>
          <p:cNvSpPr txBox="1">
            <a:spLocks/>
          </p:cNvSpPr>
          <p:nvPr/>
        </p:nvSpPr>
        <p:spPr>
          <a:xfrm>
            <a:off x="304858" y="4578840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活用のメリットとは？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E9AD1E-C6B3-10D0-C253-7F00FFADCD42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7A7A0C-8D40-E15D-647D-C5B93765D955}"/>
              </a:ext>
            </a:extLst>
          </p:cNvPr>
          <p:cNvSpPr txBox="1"/>
          <p:nvPr/>
        </p:nvSpPr>
        <p:spPr>
          <a:xfrm>
            <a:off x="362659" y="1550622"/>
            <a:ext cx="8385373" cy="2830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は、スマートフォンを使用しない時など、一時的に画面表示を休止させた状態を指します。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になったスマートフォンは画面が暗くなりますが、電波はつながっており、電源ボタンを押したりスマートフォンを持ち上げたりなどの操作ですぐに立ち上がり、使用できる状態になっています。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折りたたまれた状態の二つ折り携帯電話に近い状態です。）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9004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13">
            <a:extLst>
              <a:ext uri="{FF2B5EF4-FFF2-40B4-BE49-F238E27FC236}">
                <a16:creationId xmlns:a16="http://schemas.microsoft.com/office/drawing/2014/main" id="{A29F4933-22DE-7AA7-2EB0-FD58047C52B0}"/>
              </a:ext>
            </a:extLst>
          </p:cNvPr>
          <p:cNvGrpSpPr/>
          <p:nvPr/>
        </p:nvGrpSpPr>
        <p:grpSpPr>
          <a:xfrm>
            <a:off x="5752294" y="2152303"/>
            <a:ext cx="2324876" cy="4530224"/>
            <a:chOff x="1108042" y="2746115"/>
            <a:chExt cx="1971823" cy="3943644"/>
          </a:xfrm>
        </p:grpSpPr>
        <p:pic>
          <p:nvPicPr>
            <p:cNvPr id="32" name="図 31">
              <a:extLst>
                <a:ext uri="{FF2B5EF4-FFF2-40B4-BE49-F238E27FC236}">
                  <a16:creationId xmlns:a16="http://schemas.microsoft.com/office/drawing/2014/main" id="{848E0D6A-5972-A8AE-5BDF-4C4551976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8042" y="2746115"/>
              <a:ext cx="1971823" cy="3943644"/>
            </a:xfrm>
            <a:prstGeom prst="rect">
              <a:avLst/>
            </a:prstGeom>
          </p:spPr>
        </p:pic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4D4849A1-AF4A-FC24-F456-0602211E03B2}"/>
                </a:ext>
              </a:extLst>
            </p:cNvPr>
            <p:cNvSpPr/>
            <p:nvPr/>
          </p:nvSpPr>
          <p:spPr>
            <a:xfrm>
              <a:off x="1231899" y="3171825"/>
              <a:ext cx="1692000" cy="304799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ADFDBFD2-1450-800E-EA75-854D87CAAC30}"/>
              </a:ext>
            </a:extLst>
          </p:cNvPr>
          <p:cNvGrpSpPr/>
          <p:nvPr/>
        </p:nvGrpSpPr>
        <p:grpSpPr>
          <a:xfrm>
            <a:off x="1181233" y="2163107"/>
            <a:ext cx="2324876" cy="4539739"/>
            <a:chOff x="963093" y="2708920"/>
            <a:chExt cx="1683367" cy="3456000"/>
          </a:xfrm>
        </p:grpSpPr>
        <p:grpSp>
          <p:nvGrpSpPr>
            <p:cNvPr id="18" name="グループ化 13">
              <a:extLst>
                <a:ext uri="{FF2B5EF4-FFF2-40B4-BE49-F238E27FC236}">
                  <a16:creationId xmlns:a16="http://schemas.microsoft.com/office/drawing/2014/main" id="{8A6AF225-9E2D-C673-FEBE-1E05F2FA77C2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5" name="図 24">
                <a:extLst>
                  <a:ext uri="{FF2B5EF4-FFF2-40B4-BE49-F238E27FC236}">
                    <a16:creationId xmlns:a16="http://schemas.microsoft.com/office/drawing/2014/main" id="{78883DD7-3C6F-5405-A808-CC2D9DA5B6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7" name="正方形/長方形 26">
                <a:extLst>
                  <a:ext uri="{FF2B5EF4-FFF2-40B4-BE49-F238E27FC236}">
                    <a16:creationId xmlns:a16="http://schemas.microsoft.com/office/drawing/2014/main" id="{5484991B-56E6-0935-2A8F-3DBE816D9F89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21" name="グループ化 20">
              <a:extLst>
                <a:ext uri="{FF2B5EF4-FFF2-40B4-BE49-F238E27FC236}">
                  <a16:creationId xmlns:a16="http://schemas.microsoft.com/office/drawing/2014/main" id="{5C645E4C-370F-1E7E-F397-CE748F199283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2" name="図 21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8085D461-BCCF-CB58-EEDF-739241E9D6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4" name="図 23">
                <a:extLst>
                  <a:ext uri="{FF2B5EF4-FFF2-40B4-BE49-F238E27FC236}">
                    <a16:creationId xmlns:a16="http://schemas.microsoft.com/office/drawing/2014/main" id="{BBBAD46F-7A13-AADE-1F22-F16BD26795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kumimoji="0" lang="ja-JP" altLang="en-US" kern="0">
                <a:solidFill>
                  <a:srgbClr val="4472C4"/>
                </a:solidFill>
              </a:rPr>
              <a:t>スリープモードにする</a:t>
            </a:r>
            <a:endParaRPr lang="ja-JP" altLang="en-US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395626F-CCD2-0F63-8522-C4809A77CC6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F7FC3210-1D11-62CA-22DD-9B1FEB9ED15A}"/>
              </a:ext>
            </a:extLst>
          </p:cNvPr>
          <p:cNvGrpSpPr/>
          <p:nvPr/>
        </p:nvGrpSpPr>
        <p:grpSpPr>
          <a:xfrm>
            <a:off x="1468865" y="1426408"/>
            <a:ext cx="6206269" cy="584647"/>
            <a:chOff x="2937251" y="1121618"/>
            <a:chExt cx="6206269" cy="584647"/>
          </a:xfrm>
        </p:grpSpPr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3C35D522-73A9-9522-7747-8E180F7E5C2F}"/>
                </a:ext>
              </a:extLst>
            </p:cNvPr>
            <p:cNvSpPr txBox="1"/>
            <p:nvPr/>
          </p:nvSpPr>
          <p:spPr>
            <a:xfrm>
              <a:off x="2937251" y="1121618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91C4B0D1-9EA0-48C0-5F26-103C9CCB486A}"/>
                </a:ext>
              </a:extLst>
            </p:cNvPr>
            <p:cNvSpPr txBox="1"/>
            <p:nvPr/>
          </p:nvSpPr>
          <p:spPr>
            <a:xfrm>
              <a:off x="3435805" y="1216136"/>
              <a:ext cx="5707715" cy="395611"/>
            </a:xfrm>
            <a:prstGeom prst="rect">
              <a:avLst/>
            </a:prstGeom>
            <a:noFill/>
          </p:spPr>
          <p:txBody>
            <a:bodyPr wrap="square" lIns="91431" tIns="45715" rIns="91431" bIns="45715" rtlCol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を軽く押すとスリープモードになります</a:t>
              </a:r>
              <a:endPara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8" name="図 7" descr="電源ボタンがある側面の画像">
            <a:extLst>
              <a:ext uri="{FF2B5EF4-FFF2-40B4-BE49-F238E27FC236}">
                <a16:creationId xmlns:a16="http://schemas.microsoft.com/office/drawing/2014/main" id="{ADB4DC4C-2003-1C65-1909-626E6C81629C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3725420" y="2919850"/>
            <a:ext cx="298672" cy="1027309"/>
          </a:xfrm>
          <a:prstGeom prst="rect">
            <a:avLst/>
          </a:prstGeom>
        </p:spPr>
      </p:pic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632A1A8C-B53E-7779-FE7C-D4A4C2868202}"/>
              </a:ext>
            </a:extLst>
          </p:cNvPr>
          <p:cNvSpPr/>
          <p:nvPr/>
        </p:nvSpPr>
        <p:spPr>
          <a:xfrm>
            <a:off x="3394073" y="3166919"/>
            <a:ext cx="189095" cy="63673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7C09B09B-B313-0C12-4905-0B97534C4E97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3488621" y="2933700"/>
            <a:ext cx="250259" cy="23321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8B28556C-0CC1-D943-DA68-5B65B4A6D5B2}"/>
              </a:ext>
            </a:extLst>
          </p:cNvPr>
          <p:cNvCxnSpPr>
            <a:cxnSpLocks/>
          </p:cNvCxnSpPr>
          <p:nvPr/>
        </p:nvCxnSpPr>
        <p:spPr>
          <a:xfrm>
            <a:off x="3539174" y="3825167"/>
            <a:ext cx="184763" cy="11151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7264893-3873-4505-1E04-483AFF2737DF}"/>
              </a:ext>
            </a:extLst>
          </p:cNvPr>
          <p:cNvSpPr txBox="1"/>
          <p:nvPr/>
        </p:nvSpPr>
        <p:spPr>
          <a:xfrm>
            <a:off x="4068271" y="331647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F91077E0-DE55-D6F6-E2BE-F55542E69906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ECFCA1D-61A7-3F7D-747C-CA938E62CEDA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9858316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D02EEB62-A086-10DE-4BF2-F944CFE1BC0E}"/>
              </a:ext>
            </a:extLst>
          </p:cNvPr>
          <p:cNvGrpSpPr/>
          <p:nvPr/>
        </p:nvGrpSpPr>
        <p:grpSpPr>
          <a:xfrm>
            <a:off x="5714434" y="2082467"/>
            <a:ext cx="2505077" cy="4692724"/>
            <a:chOff x="5714434" y="2082467"/>
            <a:chExt cx="2505077" cy="4692724"/>
          </a:xfrm>
        </p:grpSpPr>
        <p:pic>
          <p:nvPicPr>
            <p:cNvPr id="5" name="図 4" descr="電源が入っているスマートフォンの画面の画像">
              <a:extLst>
                <a:ext uri="{FF2B5EF4-FFF2-40B4-BE49-F238E27FC236}">
                  <a16:creationId xmlns:a16="http://schemas.microsoft.com/office/drawing/2014/main" id="{DACBC0A3-AB91-6046-12D1-8638F35EB8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838"/>
            <a:stretch/>
          </p:blipFill>
          <p:spPr>
            <a:xfrm>
              <a:off x="5714434" y="2082467"/>
              <a:ext cx="2505077" cy="4692724"/>
            </a:xfrm>
            <a:prstGeom prst="rect">
              <a:avLst/>
            </a:prstGeom>
          </p:spPr>
        </p:pic>
        <p:sp>
          <p:nvSpPr>
            <p:cNvPr id="6" name="四角形: 角を丸くする 10">
              <a:extLst>
                <a:ext uri="{FF2B5EF4-FFF2-40B4-BE49-F238E27FC236}">
                  <a16:creationId xmlns:a16="http://schemas.microsoft.com/office/drawing/2014/main" id="{49E038BB-5929-14AC-2F2A-C681224E9E3C}"/>
                </a:ext>
              </a:extLst>
            </p:cNvPr>
            <p:cNvSpPr/>
            <p:nvPr/>
          </p:nvSpPr>
          <p:spPr>
            <a:xfrm>
              <a:off x="5953346" y="2238156"/>
              <a:ext cx="2039140" cy="4332326"/>
            </a:xfrm>
            <a:prstGeom prst="roundRect">
              <a:avLst>
                <a:gd name="adj" fmla="val 8943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F0BCF259-5F54-5FD1-A5C0-3ADF4C7032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1514" y="2080841"/>
            <a:ext cx="2505078" cy="4732398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kumimoji="0" lang="ja-JP" altLang="en-US" kern="0">
                <a:solidFill>
                  <a:srgbClr val="4472C4"/>
                </a:solidFill>
              </a:rPr>
              <a:t>スリープモードにする</a:t>
            </a:r>
            <a:endParaRPr lang="ja-JP" altLang="en-US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矢印コネクタ 20">
            <a:extLst>
              <a:ext uri="{FF2B5EF4-FFF2-40B4-BE49-F238E27FC236}">
                <a16:creationId xmlns:a16="http://schemas.microsoft.com/office/drawing/2014/main" id="{2555A399-2710-7908-51E2-9D209FD18D3E}"/>
              </a:ext>
            </a:extLst>
          </p:cNvPr>
          <p:cNvCxnSpPr>
            <a:cxnSpLocks/>
          </p:cNvCxnSpPr>
          <p:nvPr/>
        </p:nvCxnSpPr>
        <p:spPr>
          <a:xfrm>
            <a:off x="4350856" y="4589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E65A8197-DDC7-85F4-AF09-6A52BE4EB568}"/>
              </a:ext>
            </a:extLst>
          </p:cNvPr>
          <p:cNvGrpSpPr/>
          <p:nvPr/>
        </p:nvGrpSpPr>
        <p:grpSpPr>
          <a:xfrm>
            <a:off x="1468865" y="1375608"/>
            <a:ext cx="6206269" cy="584647"/>
            <a:chOff x="2937251" y="1121618"/>
            <a:chExt cx="6206269" cy="584647"/>
          </a:xfrm>
        </p:grpSpPr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0AE6B4BA-6786-1ACC-4D49-C9CDEA8F82AF}"/>
                </a:ext>
              </a:extLst>
            </p:cNvPr>
            <p:cNvSpPr txBox="1"/>
            <p:nvPr/>
          </p:nvSpPr>
          <p:spPr>
            <a:xfrm>
              <a:off x="2937251" y="1121618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9E394DBE-9E5C-4793-8928-7D14AA4C5158}"/>
                </a:ext>
              </a:extLst>
            </p:cNvPr>
            <p:cNvSpPr txBox="1"/>
            <p:nvPr/>
          </p:nvSpPr>
          <p:spPr>
            <a:xfrm>
              <a:off x="3435805" y="1216136"/>
              <a:ext cx="5707715" cy="395611"/>
            </a:xfrm>
            <a:prstGeom prst="rect">
              <a:avLst/>
            </a:prstGeom>
            <a:noFill/>
          </p:spPr>
          <p:txBody>
            <a:bodyPr wrap="square" lIns="91431" tIns="45715" rIns="91431" bIns="45715" rtlCol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を軽く押すとスリープモードになります</a:t>
              </a:r>
              <a:endPara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29" name="図 28">
            <a:extLst>
              <a:ext uri="{FF2B5EF4-FFF2-40B4-BE49-F238E27FC236}">
                <a16:creationId xmlns:a16="http://schemas.microsoft.com/office/drawing/2014/main" id="{4643D16B-91AB-253E-082C-34B17D3F189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1253" t="22194" r="-23213" b="58183"/>
          <a:stretch/>
        </p:blipFill>
        <p:spPr>
          <a:xfrm>
            <a:off x="3676016" y="2995918"/>
            <a:ext cx="514349" cy="1027909"/>
          </a:xfrm>
          <a:prstGeom prst="rect">
            <a:avLst/>
          </a:prstGeom>
        </p:spPr>
      </p:pic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1356D69E-4EC6-FA71-E6B2-3DCBED7A4942}"/>
              </a:ext>
            </a:extLst>
          </p:cNvPr>
          <p:cNvSpPr txBox="1"/>
          <p:nvPr/>
        </p:nvSpPr>
        <p:spPr>
          <a:xfrm>
            <a:off x="4146677" y="3331501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95869AA8-C9A6-BE4E-1F18-BB089AC17FF4}"/>
              </a:ext>
            </a:extLst>
          </p:cNvPr>
          <p:cNvSpPr/>
          <p:nvPr/>
        </p:nvSpPr>
        <p:spPr>
          <a:xfrm>
            <a:off x="3424553" y="3243119"/>
            <a:ext cx="189095" cy="63673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32" name="直線コネクタ 31">
            <a:extLst>
              <a:ext uri="{FF2B5EF4-FFF2-40B4-BE49-F238E27FC236}">
                <a16:creationId xmlns:a16="http://schemas.microsoft.com/office/drawing/2014/main" id="{16731A3A-1CEC-DEBE-7655-94AB1DDBF18A}"/>
              </a:ext>
            </a:extLst>
          </p:cNvPr>
          <p:cNvCxnSpPr>
            <a:cxnSpLocks/>
            <a:endCxn id="31" idx="0"/>
          </p:cNvCxnSpPr>
          <p:nvPr/>
        </p:nvCxnSpPr>
        <p:spPr>
          <a:xfrm flipH="1">
            <a:off x="3519101" y="3009900"/>
            <a:ext cx="250259" cy="23321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D04AB68C-7225-DED8-BDE7-398684891C15}"/>
              </a:ext>
            </a:extLst>
          </p:cNvPr>
          <p:cNvCxnSpPr>
            <a:cxnSpLocks/>
          </p:cNvCxnSpPr>
          <p:nvPr/>
        </p:nvCxnSpPr>
        <p:spPr>
          <a:xfrm>
            <a:off x="3569654" y="3901367"/>
            <a:ext cx="184763" cy="11151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字幕 14">
            <a:extLst>
              <a:ext uri="{FF2B5EF4-FFF2-40B4-BE49-F238E27FC236}">
                <a16:creationId xmlns:a16="http://schemas.microsoft.com/office/drawing/2014/main" id="{CF0CE979-AAC0-151E-554D-7AEB93B517CF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72E273-5562-2A3D-9A70-9E405DF6FA65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692534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F69D0A6-C124-016D-3D20-0F8C3501515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984"/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B5764BE9-1283-D0C7-D76B-D772C729D94C}"/>
              </a:ext>
            </a:extLst>
          </p:cNvPr>
          <p:cNvSpPr txBox="1">
            <a:spLocks/>
          </p:cNvSpPr>
          <p:nvPr/>
        </p:nvSpPr>
        <p:spPr>
          <a:xfrm>
            <a:off x="1099001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ja-JP" altLang="en-US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ボタン操作の仕方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F5582AEE-E0A1-9674-B80A-99ECB1158D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649AB19-72F7-692F-BCD6-E04628EF9A1A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字幕 14">
            <a:extLst>
              <a:ext uri="{FF2B5EF4-FFF2-40B4-BE49-F238E27FC236}">
                <a16:creationId xmlns:a16="http://schemas.microsoft.com/office/drawing/2014/main" id="{FAD04248-FFD6-54A0-81B3-24207336AED0}"/>
              </a:ext>
            </a:extLst>
          </p:cNvPr>
          <p:cNvSpPr txBox="1">
            <a:spLocks/>
          </p:cNvSpPr>
          <p:nvPr/>
        </p:nvSpPr>
        <p:spPr>
          <a:xfrm>
            <a:off x="307968" y="932945"/>
            <a:ext cx="2304603" cy="495735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ja-JP" altLang="en-US" sz="2200" b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・音量ボタン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B863D16-C65E-86E2-982D-AD2DED2C41B2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A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E7EBABC7-E4C6-54F7-03D3-DC7E9A82D76E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・音量ボタン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89DC7D9-1159-583E-D00E-D7ACEAB447BF}"/>
              </a:ext>
            </a:extLst>
          </p:cNvPr>
          <p:cNvSpPr txBox="1"/>
          <p:nvPr/>
        </p:nvSpPr>
        <p:spPr>
          <a:xfrm>
            <a:off x="823229" y="1517377"/>
            <a:ext cx="6388940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を押すことで音量の設定をすることができます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F3DF718-7973-C0D2-87D7-77844D7B5E13}"/>
              </a:ext>
            </a:extLst>
          </p:cNvPr>
          <p:cNvSpPr txBox="1"/>
          <p:nvPr/>
        </p:nvSpPr>
        <p:spPr>
          <a:xfrm>
            <a:off x="810243" y="4503572"/>
            <a:ext cx="1336497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5459E395-1AF7-CD3A-5B9A-37CAD0D265A0}"/>
              </a:ext>
            </a:extLst>
          </p:cNvPr>
          <p:cNvSpPr txBox="1"/>
          <p:nvPr/>
        </p:nvSpPr>
        <p:spPr>
          <a:xfrm>
            <a:off x="2563228" y="3455715"/>
            <a:ext cx="132923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88B02612-12FE-DC2F-F67F-DB6C731EFE71}"/>
              </a:ext>
            </a:extLst>
          </p:cNvPr>
          <p:cNvSpPr txBox="1"/>
          <p:nvPr/>
        </p:nvSpPr>
        <p:spPr>
          <a:xfrm>
            <a:off x="3306063" y="3866950"/>
            <a:ext cx="230568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上側を押すと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が大きくなる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D7C4B54-D765-0447-8229-731B9E1E5760}"/>
              </a:ext>
            </a:extLst>
          </p:cNvPr>
          <p:cNvSpPr txBox="1"/>
          <p:nvPr/>
        </p:nvSpPr>
        <p:spPr>
          <a:xfrm>
            <a:off x="3306063" y="4892476"/>
            <a:ext cx="2170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下側を押すと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が小さくなる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9DBE2DD9-9EA0-D6F2-2983-3743699834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0841" y="2349320"/>
            <a:ext cx="511939" cy="3960000"/>
          </a:xfrm>
          <a:prstGeom prst="rect">
            <a:avLst/>
          </a:prstGeom>
        </p:spPr>
      </p:pic>
      <p:sp>
        <p:nvSpPr>
          <p:cNvPr id="4" name="四角形: 角を丸くする 4">
            <a:extLst>
              <a:ext uri="{FF2B5EF4-FFF2-40B4-BE49-F238E27FC236}">
                <a16:creationId xmlns:a16="http://schemas.microsoft.com/office/drawing/2014/main" id="{30D35CEC-7DBD-3704-23DC-87A96263448A}"/>
              </a:ext>
            </a:extLst>
          </p:cNvPr>
          <p:cNvSpPr/>
          <p:nvPr/>
        </p:nvSpPr>
        <p:spPr>
          <a:xfrm>
            <a:off x="2136183" y="3455715"/>
            <a:ext cx="381000" cy="23760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4996F023-9414-6127-D190-AADB0D913C7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836" r="13432" b="55945"/>
          <a:stretch/>
        </p:blipFill>
        <p:spPr>
          <a:xfrm>
            <a:off x="286493" y="2327977"/>
            <a:ext cx="548203" cy="3981192"/>
          </a:xfrm>
          <a:prstGeom prst="rect">
            <a:avLst/>
          </a:prstGeom>
        </p:spPr>
      </p:pic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CBF9CC01-1B55-491C-86EE-1AD003728CB0}"/>
              </a:ext>
            </a:extLst>
          </p:cNvPr>
          <p:cNvGrpSpPr/>
          <p:nvPr/>
        </p:nvGrpSpPr>
        <p:grpSpPr>
          <a:xfrm>
            <a:off x="6047787" y="4507279"/>
            <a:ext cx="2412645" cy="1658025"/>
            <a:chOff x="-3253908" y="1596696"/>
            <a:chExt cx="4801572" cy="3348347"/>
          </a:xfrm>
        </p:grpSpPr>
        <p:pic>
          <p:nvPicPr>
            <p:cNvPr id="8" name="図 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D83ECAE-D5DD-9A79-3F4B-FD1DC03B60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376" r="910" b="60775"/>
            <a:stretch/>
          </p:blipFill>
          <p:spPr>
            <a:xfrm>
              <a:off x="-3253908" y="1596696"/>
              <a:ext cx="4801572" cy="3348347"/>
            </a:xfrm>
            <a:prstGeom prst="rect">
              <a:avLst/>
            </a:prstGeom>
          </p:spPr>
        </p:pic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E48A67E2-18C0-ABA1-EC6C-A19F7C669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-2916832" y="1605817"/>
              <a:ext cx="522768" cy="218742"/>
            </a:xfrm>
            <a:prstGeom prst="rect">
              <a:avLst/>
            </a:prstGeom>
          </p:spPr>
        </p:pic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A250F662-A32D-9CC8-CC0D-E7E230107E0D}"/>
              </a:ext>
            </a:extLst>
          </p:cNvPr>
          <p:cNvGrpSpPr/>
          <p:nvPr/>
        </p:nvGrpSpPr>
        <p:grpSpPr>
          <a:xfrm>
            <a:off x="6051029" y="2349320"/>
            <a:ext cx="2409403" cy="1652775"/>
            <a:chOff x="9427332" y="537741"/>
            <a:chExt cx="3855697" cy="2720991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8C11852D-BD39-796A-C5FC-909EAA2111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b="60324"/>
            <a:stretch/>
          </p:blipFill>
          <p:spPr>
            <a:xfrm>
              <a:off x="9427332" y="537741"/>
              <a:ext cx="3855697" cy="2720991"/>
            </a:xfrm>
            <a:prstGeom prst="rect">
              <a:avLst/>
            </a:prstGeom>
          </p:spPr>
        </p:pic>
        <p:pic>
          <p:nvPicPr>
            <p:cNvPr id="15" name="図 14">
              <a:extLst>
                <a:ext uri="{FF2B5EF4-FFF2-40B4-BE49-F238E27FC236}">
                  <a16:creationId xmlns:a16="http://schemas.microsoft.com/office/drawing/2014/main" id="{8C0B03A2-89E0-D62C-6205-90E097A0C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684568" y="548831"/>
              <a:ext cx="380686" cy="157190"/>
            </a:xfrm>
            <a:prstGeom prst="rect">
              <a:avLst/>
            </a:prstGeom>
          </p:spPr>
        </p:pic>
      </p:grpSp>
      <p:sp>
        <p:nvSpPr>
          <p:cNvPr id="16" name="四角形: 角を丸くする 4">
            <a:extLst>
              <a:ext uri="{FF2B5EF4-FFF2-40B4-BE49-F238E27FC236}">
                <a16:creationId xmlns:a16="http://schemas.microsoft.com/office/drawing/2014/main" id="{B2629BD3-A861-188F-636A-634DEC9B7D80}"/>
              </a:ext>
            </a:extLst>
          </p:cNvPr>
          <p:cNvSpPr/>
          <p:nvPr/>
        </p:nvSpPr>
        <p:spPr>
          <a:xfrm>
            <a:off x="348961" y="4503572"/>
            <a:ext cx="381000" cy="1301692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四角形: 角を丸くする 4">
            <a:extLst>
              <a:ext uri="{FF2B5EF4-FFF2-40B4-BE49-F238E27FC236}">
                <a16:creationId xmlns:a16="http://schemas.microsoft.com/office/drawing/2014/main" id="{C20150AC-758E-986A-759F-8FB6F970AA91}"/>
              </a:ext>
            </a:extLst>
          </p:cNvPr>
          <p:cNvSpPr/>
          <p:nvPr/>
        </p:nvSpPr>
        <p:spPr>
          <a:xfrm>
            <a:off x="6074075" y="4926094"/>
            <a:ext cx="381000" cy="1085668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四角形: 角を丸くする 4">
            <a:extLst>
              <a:ext uri="{FF2B5EF4-FFF2-40B4-BE49-F238E27FC236}">
                <a16:creationId xmlns:a16="http://schemas.microsoft.com/office/drawing/2014/main" id="{CE7A03A7-6A9A-4ED5-C878-F89D86AB2FBE}"/>
              </a:ext>
            </a:extLst>
          </p:cNvPr>
          <p:cNvSpPr/>
          <p:nvPr/>
        </p:nvSpPr>
        <p:spPr>
          <a:xfrm>
            <a:off x="6077497" y="2767648"/>
            <a:ext cx="381000" cy="1085668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34E51B26-35D2-0AE6-FD25-01BC1B9E8AB4}"/>
              </a:ext>
            </a:extLst>
          </p:cNvPr>
          <p:cNvCxnSpPr>
            <a:cxnSpLocks/>
          </p:cNvCxnSpPr>
          <p:nvPr/>
        </p:nvCxnSpPr>
        <p:spPr>
          <a:xfrm>
            <a:off x="2674831" y="4221088"/>
            <a:ext cx="648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16A471D4-027C-97AD-4337-E5AAD93C858E}"/>
              </a:ext>
            </a:extLst>
          </p:cNvPr>
          <p:cNvCxnSpPr>
            <a:cxnSpLocks/>
          </p:cNvCxnSpPr>
          <p:nvPr/>
        </p:nvCxnSpPr>
        <p:spPr>
          <a:xfrm>
            <a:off x="2674831" y="5221213"/>
            <a:ext cx="648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06EE45B-5C82-10D4-774E-77A043D4862B}"/>
              </a:ext>
            </a:extLst>
          </p:cNvPr>
          <p:cNvSpPr txBox="1"/>
          <p:nvPr/>
        </p:nvSpPr>
        <p:spPr>
          <a:xfrm>
            <a:off x="6274917" y="4001757"/>
            <a:ext cx="200842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を上げたとき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54AE188A-F95B-175E-2F63-DF1FEA62A077}"/>
              </a:ext>
            </a:extLst>
          </p:cNvPr>
          <p:cNvSpPr txBox="1"/>
          <p:nvPr/>
        </p:nvSpPr>
        <p:spPr>
          <a:xfrm>
            <a:off x="6382849" y="6183327"/>
            <a:ext cx="200842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を下げたとき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F649AB19-72F7-692F-BCD6-E04628EF9A1A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2088875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F5A6777D-CBC2-5D87-7D0A-7E65FFE8E603}"/>
              </a:ext>
            </a:extLst>
          </p:cNvPr>
          <p:cNvGrpSpPr/>
          <p:nvPr/>
        </p:nvGrpSpPr>
        <p:grpSpPr>
          <a:xfrm>
            <a:off x="3488847" y="1957140"/>
            <a:ext cx="2189838" cy="4378491"/>
            <a:chOff x="963093" y="2708920"/>
            <a:chExt cx="1683367" cy="3456000"/>
          </a:xfrm>
        </p:grpSpPr>
        <p:grpSp>
          <p:nvGrpSpPr>
            <p:cNvPr id="9" name="グループ化 8">
              <a:extLst>
                <a:ext uri="{FF2B5EF4-FFF2-40B4-BE49-F238E27FC236}">
                  <a16:creationId xmlns:a16="http://schemas.microsoft.com/office/drawing/2014/main" id="{4A9C11D4-2915-676F-A8F4-A824E295C518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1" name="図 20">
                <a:extLst>
                  <a:ext uri="{FF2B5EF4-FFF2-40B4-BE49-F238E27FC236}">
                    <a16:creationId xmlns:a16="http://schemas.microsoft.com/office/drawing/2014/main" id="{F6BD69E0-1177-67E9-482A-FC1FA790EA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2" name="正方形/長方形 21">
                <a:extLst>
                  <a:ext uri="{FF2B5EF4-FFF2-40B4-BE49-F238E27FC236}">
                    <a16:creationId xmlns:a16="http://schemas.microsoft.com/office/drawing/2014/main" id="{7521687B-929C-BA40-DF73-FD13CFB1883B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grpSp>
          <p:nvGrpSpPr>
            <p:cNvPr id="14" name="グループ化 13">
              <a:extLst>
                <a:ext uri="{FF2B5EF4-FFF2-40B4-BE49-F238E27FC236}">
                  <a16:creationId xmlns:a16="http://schemas.microsoft.com/office/drawing/2014/main" id="{C11317E1-A6C9-FCB0-16A9-758900E0B7C5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16" name="図 1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44EA3346-E9F7-03C1-4DCC-F46DCD9540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18" name="図 17">
                <a:extLst>
                  <a:ext uri="{FF2B5EF4-FFF2-40B4-BE49-F238E27FC236}">
                    <a16:creationId xmlns:a16="http://schemas.microsoft.com/office/drawing/2014/main" id="{3CCA2016-AEFD-E000-8FA3-02887C62C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2051" y="3092717"/>
                <a:ext cx="155493" cy="60123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34899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DA8DAC0D-023F-E682-A8D6-C24CF1877038}"/>
              </a:ext>
            </a:extLst>
          </p:cNvPr>
          <p:cNvCxnSpPr>
            <a:cxnSpLocks/>
          </p:cNvCxnSpPr>
          <p:nvPr/>
        </p:nvCxnSpPr>
        <p:spPr>
          <a:xfrm>
            <a:off x="3929052" y="1673485"/>
            <a:ext cx="347659" cy="485775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コネクタ: カギ線 33">
            <a:extLst>
              <a:ext uri="{FF2B5EF4-FFF2-40B4-BE49-F238E27FC236}">
                <a16:creationId xmlns:a16="http://schemas.microsoft.com/office/drawing/2014/main" id="{7BA7D9E2-69E6-1242-9E60-5E900CB9AA58}"/>
              </a:ext>
            </a:extLst>
          </p:cNvPr>
          <p:cNvCxnSpPr>
            <a:cxnSpLocks/>
          </p:cNvCxnSpPr>
          <p:nvPr/>
        </p:nvCxnSpPr>
        <p:spPr>
          <a:xfrm rot="10800000" flipV="1">
            <a:off x="4624388" y="1687979"/>
            <a:ext cx="284431" cy="516035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A59EAD2-1E20-64CB-B1F7-D8F93F9593D4}"/>
              </a:ext>
            </a:extLst>
          </p:cNvPr>
          <p:cNvSpPr txBox="1"/>
          <p:nvPr/>
        </p:nvSpPr>
        <p:spPr>
          <a:xfrm>
            <a:off x="2670834" y="1482024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前面カメラ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6B25B8A-A0C1-D071-1EB8-C509A316BBB2}"/>
              </a:ext>
            </a:extLst>
          </p:cNvPr>
          <p:cNvSpPr txBox="1"/>
          <p:nvPr/>
        </p:nvSpPr>
        <p:spPr>
          <a:xfrm>
            <a:off x="4867558" y="1500089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24DB564-D34A-3AD8-405F-BFF87BFE3EAC}"/>
              </a:ext>
            </a:extLst>
          </p:cNvPr>
          <p:cNvSpPr txBox="1"/>
          <p:nvPr/>
        </p:nvSpPr>
        <p:spPr>
          <a:xfrm>
            <a:off x="1974022" y="2103607"/>
            <a:ext cx="14686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</a:t>
            </a:r>
          </a:p>
        </p:txBody>
      </p: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E743D621-CD98-B547-9F1B-0E0DCD10200C}"/>
              </a:ext>
            </a:extLst>
          </p:cNvPr>
          <p:cNvCxnSpPr>
            <a:cxnSpLocks/>
          </p:cNvCxnSpPr>
          <p:nvPr/>
        </p:nvCxnSpPr>
        <p:spPr>
          <a:xfrm>
            <a:off x="3170725" y="2524183"/>
            <a:ext cx="311255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77DFB010-4644-1CC9-735D-F7E079D3266B}"/>
              </a:ext>
            </a:extLst>
          </p:cNvPr>
          <p:cNvSpPr txBox="1"/>
          <p:nvPr/>
        </p:nvSpPr>
        <p:spPr>
          <a:xfrm>
            <a:off x="1938854" y="2944760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</a:p>
        </p:txBody>
      </p:sp>
      <p:cxnSp>
        <p:nvCxnSpPr>
          <p:cNvPr id="46" name="直線コネクタ 45">
            <a:extLst>
              <a:ext uri="{FF2B5EF4-FFF2-40B4-BE49-F238E27FC236}">
                <a16:creationId xmlns:a16="http://schemas.microsoft.com/office/drawing/2014/main" id="{9356BB5C-E056-B827-A2B5-30E5E6577B6D}"/>
              </a:ext>
            </a:extLst>
          </p:cNvPr>
          <p:cNvCxnSpPr>
            <a:cxnSpLocks/>
          </p:cNvCxnSpPr>
          <p:nvPr/>
        </p:nvCxnSpPr>
        <p:spPr>
          <a:xfrm>
            <a:off x="3251066" y="3009649"/>
            <a:ext cx="227678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コネクタ 46">
            <a:extLst>
              <a:ext uri="{FF2B5EF4-FFF2-40B4-BE49-F238E27FC236}">
                <a16:creationId xmlns:a16="http://schemas.microsoft.com/office/drawing/2014/main" id="{D761D637-A98F-F51D-CFCF-ECFC2A5C8336}"/>
              </a:ext>
            </a:extLst>
          </p:cNvPr>
          <p:cNvCxnSpPr>
            <a:cxnSpLocks/>
          </p:cNvCxnSpPr>
          <p:nvPr/>
        </p:nvCxnSpPr>
        <p:spPr>
          <a:xfrm>
            <a:off x="3251066" y="3204204"/>
            <a:ext cx="227678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5280CFE0-4658-708A-F99C-1F6525B32926}"/>
              </a:ext>
            </a:extLst>
          </p:cNvPr>
          <p:cNvCxnSpPr>
            <a:cxnSpLocks/>
          </p:cNvCxnSpPr>
          <p:nvPr/>
        </p:nvCxnSpPr>
        <p:spPr>
          <a:xfrm flipV="1">
            <a:off x="3255029" y="3001249"/>
            <a:ext cx="0" cy="206513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750EEECE-7628-8A74-DDA2-F762E38AB1D2}"/>
              </a:ext>
            </a:extLst>
          </p:cNvPr>
          <p:cNvCxnSpPr>
            <a:cxnSpLocks/>
          </p:cNvCxnSpPr>
          <p:nvPr/>
        </p:nvCxnSpPr>
        <p:spPr>
          <a:xfrm flipV="1">
            <a:off x="3153803" y="3108993"/>
            <a:ext cx="101052" cy="49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B0C97DED-9283-58E3-59DF-587D0246514C}"/>
              </a:ext>
            </a:extLst>
          </p:cNvPr>
          <p:cNvSpPr txBox="1"/>
          <p:nvPr/>
        </p:nvSpPr>
        <p:spPr>
          <a:xfrm>
            <a:off x="1923065" y="5855202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cxnSp>
        <p:nvCxnSpPr>
          <p:cNvPr id="51" name="直線コネクタ 50">
            <a:extLst>
              <a:ext uri="{FF2B5EF4-FFF2-40B4-BE49-F238E27FC236}">
                <a16:creationId xmlns:a16="http://schemas.microsoft.com/office/drawing/2014/main" id="{C6B9BD67-C141-1EA5-DDBE-CAF0B5BB8C6E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 flipV="1">
            <a:off x="3455857" y="6030697"/>
            <a:ext cx="902331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D0714DBE-C075-7986-3AD7-AADFD56698E0}"/>
              </a:ext>
            </a:extLst>
          </p:cNvPr>
          <p:cNvSpPr>
            <a:spLocks/>
          </p:cNvSpPr>
          <p:nvPr/>
        </p:nvSpPr>
        <p:spPr>
          <a:xfrm>
            <a:off x="4358188" y="5856559"/>
            <a:ext cx="422377" cy="34827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EBDB024-917B-B839-E626-9D0019F0272C}"/>
              </a:ext>
            </a:extLst>
          </p:cNvPr>
          <p:cNvSpPr txBox="1"/>
          <p:nvPr/>
        </p:nvSpPr>
        <p:spPr>
          <a:xfrm>
            <a:off x="5987934" y="2709472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</a:p>
        </p:txBody>
      </p:sp>
      <p:cxnSp>
        <p:nvCxnSpPr>
          <p:cNvPr id="59" name="直線コネクタ 58">
            <a:extLst>
              <a:ext uri="{FF2B5EF4-FFF2-40B4-BE49-F238E27FC236}">
                <a16:creationId xmlns:a16="http://schemas.microsoft.com/office/drawing/2014/main" id="{B536AC9C-1ADB-8EB6-B09B-7783F80C4C1F}"/>
              </a:ext>
            </a:extLst>
          </p:cNvPr>
          <p:cNvCxnSpPr>
            <a:cxnSpLocks/>
          </p:cNvCxnSpPr>
          <p:nvPr/>
        </p:nvCxnSpPr>
        <p:spPr>
          <a:xfrm>
            <a:off x="5712023" y="2927104"/>
            <a:ext cx="311255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3612EC4A-FDE3-7893-B7EE-7EBDE4EE0EB2}"/>
              </a:ext>
            </a:extLst>
          </p:cNvPr>
          <p:cNvSpPr txBox="1"/>
          <p:nvPr/>
        </p:nvSpPr>
        <p:spPr>
          <a:xfrm>
            <a:off x="5722000" y="633563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充電口</a:t>
            </a:r>
          </a:p>
        </p:txBody>
      </p: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95850193-7096-78FE-65A8-767264B6D5B8}"/>
              </a:ext>
            </a:extLst>
          </p:cNvPr>
          <p:cNvCxnSpPr>
            <a:cxnSpLocks/>
            <a:stCxn id="60" idx="1"/>
            <a:endCxn id="21" idx="2"/>
          </p:cNvCxnSpPr>
          <p:nvPr/>
        </p:nvCxnSpPr>
        <p:spPr>
          <a:xfrm rot="10800000">
            <a:off x="4583766" y="6335631"/>
            <a:ext cx="1138234" cy="184666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F0E9298C-D4E6-9D46-B93A-8DD004E6778E}"/>
              </a:ext>
            </a:extLst>
          </p:cNvPr>
          <p:cNvSpPr txBox="1"/>
          <p:nvPr/>
        </p:nvSpPr>
        <p:spPr>
          <a:xfrm>
            <a:off x="20345" y="960992"/>
            <a:ext cx="47802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5"/>
            <a:r>
              <a:rPr kumimoji="1" lang="ja-JP" altLang="en-US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（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）</a:t>
            </a:r>
          </a:p>
        </p:txBody>
      </p:sp>
      <p:sp>
        <p:nvSpPr>
          <p:cNvPr id="6" name="字幕 14">
            <a:extLst>
              <a:ext uri="{FF2B5EF4-FFF2-40B4-BE49-F238E27FC236}">
                <a16:creationId xmlns:a16="http://schemas.microsoft.com/office/drawing/2014/main" id="{DD64C2B8-0046-73B2-7871-1371206FFBBA}"/>
              </a:ext>
            </a:extLst>
          </p:cNvPr>
          <p:cNvSpPr txBox="1">
            <a:spLocks/>
          </p:cNvSpPr>
          <p:nvPr/>
        </p:nvSpPr>
        <p:spPr>
          <a:xfrm>
            <a:off x="6146800" y="1022481"/>
            <a:ext cx="3114884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</a:t>
            </a:r>
            <a:endParaRPr lang="en-US" altLang="ja-JP" sz="1600" b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機種により異なります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D3B0C87-B45B-A83B-0E82-E00F8FC8B7B7}"/>
              </a:ext>
            </a:extLst>
          </p:cNvPr>
          <p:cNvSpPr>
            <a:spLocks/>
          </p:cNvSpPr>
          <p:nvPr/>
        </p:nvSpPr>
        <p:spPr>
          <a:xfrm>
            <a:off x="5602859" y="2705100"/>
            <a:ext cx="105792" cy="45481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2491CEA-704C-89CB-58F2-481A1664295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151850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図 131">
            <a:extLst>
              <a:ext uri="{FF2B5EF4-FFF2-40B4-BE49-F238E27FC236}">
                <a16:creationId xmlns:a16="http://schemas.microsoft.com/office/drawing/2014/main" id="{414C54BC-C448-17E8-8BA1-1D31588F06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2372" y="1949264"/>
            <a:ext cx="2180826" cy="4378491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34899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テキスト ボックス 132">
            <a:extLst>
              <a:ext uri="{FF2B5EF4-FFF2-40B4-BE49-F238E27FC236}">
                <a16:creationId xmlns:a16="http://schemas.microsoft.com/office/drawing/2014/main" id="{A701D245-535A-B82D-2087-059A4127EA8F}"/>
              </a:ext>
            </a:extLst>
          </p:cNvPr>
          <p:cNvSpPr txBox="1"/>
          <p:nvPr/>
        </p:nvSpPr>
        <p:spPr>
          <a:xfrm>
            <a:off x="3169775" y="1407500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カメラ</a:t>
            </a:r>
          </a:p>
        </p:txBody>
      </p:sp>
      <p:cxnSp>
        <p:nvCxnSpPr>
          <p:cNvPr id="134" name="直線コネクタ 133">
            <a:extLst>
              <a:ext uri="{FF2B5EF4-FFF2-40B4-BE49-F238E27FC236}">
                <a16:creationId xmlns:a16="http://schemas.microsoft.com/office/drawing/2014/main" id="{D28F348E-771B-1298-E97B-CEBAC68844F7}"/>
              </a:ext>
            </a:extLst>
          </p:cNvPr>
          <p:cNvCxnSpPr>
            <a:cxnSpLocks/>
          </p:cNvCxnSpPr>
          <p:nvPr/>
        </p:nvCxnSpPr>
        <p:spPr>
          <a:xfrm>
            <a:off x="3814343" y="1776832"/>
            <a:ext cx="0" cy="344864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テキスト ボックス 134">
            <a:extLst>
              <a:ext uri="{FF2B5EF4-FFF2-40B4-BE49-F238E27FC236}">
                <a16:creationId xmlns:a16="http://schemas.microsoft.com/office/drawing/2014/main" id="{36E21639-7B9D-8138-8EDF-3D5BFC028DDA}"/>
              </a:ext>
            </a:extLst>
          </p:cNvPr>
          <p:cNvSpPr txBox="1"/>
          <p:nvPr/>
        </p:nvSpPr>
        <p:spPr>
          <a:xfrm>
            <a:off x="4582785" y="1407500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ラッシュ</a:t>
            </a:r>
          </a:p>
        </p:txBody>
      </p:sp>
      <p:cxnSp>
        <p:nvCxnSpPr>
          <p:cNvPr id="136" name="コネクタ: カギ線 135">
            <a:extLst>
              <a:ext uri="{FF2B5EF4-FFF2-40B4-BE49-F238E27FC236}">
                <a16:creationId xmlns:a16="http://schemas.microsoft.com/office/drawing/2014/main" id="{11BF8D84-A812-1062-5FBE-84F33A33C594}"/>
              </a:ext>
            </a:extLst>
          </p:cNvPr>
          <p:cNvCxnSpPr>
            <a:cxnSpLocks/>
          </p:cNvCxnSpPr>
          <p:nvPr/>
        </p:nvCxnSpPr>
        <p:spPr>
          <a:xfrm rot="10800000" flipV="1">
            <a:off x="4309984" y="1776832"/>
            <a:ext cx="779110" cy="491561"/>
          </a:xfrm>
          <a:prstGeom prst="bentConnector3">
            <a:avLst>
              <a:gd name="adj1" fmla="val 1098"/>
            </a:avLst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テキスト ボックス 137">
            <a:extLst>
              <a:ext uri="{FF2B5EF4-FFF2-40B4-BE49-F238E27FC236}">
                <a16:creationId xmlns:a16="http://schemas.microsoft.com/office/drawing/2014/main" id="{3CA2BFF3-7E9C-40EA-5B43-5ABFFB646E54}"/>
              </a:ext>
            </a:extLst>
          </p:cNvPr>
          <p:cNvSpPr txBox="1"/>
          <p:nvPr/>
        </p:nvSpPr>
        <p:spPr>
          <a:xfrm>
            <a:off x="3929401" y="6453343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139" name="コネクタ: カギ線 138">
            <a:extLst>
              <a:ext uri="{FF2B5EF4-FFF2-40B4-BE49-F238E27FC236}">
                <a16:creationId xmlns:a16="http://schemas.microsoft.com/office/drawing/2014/main" id="{5300DD29-7E6B-D335-17CD-117B76FC59BE}"/>
              </a:ext>
            </a:extLst>
          </p:cNvPr>
          <p:cNvCxnSpPr>
            <a:cxnSpLocks/>
            <a:endCxn id="140" idx="2"/>
          </p:cNvCxnSpPr>
          <p:nvPr/>
        </p:nvCxnSpPr>
        <p:spPr>
          <a:xfrm rot="10800000">
            <a:off x="4190029" y="6348968"/>
            <a:ext cx="737887" cy="80828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正方形/長方形 139">
            <a:extLst>
              <a:ext uri="{FF2B5EF4-FFF2-40B4-BE49-F238E27FC236}">
                <a16:creationId xmlns:a16="http://schemas.microsoft.com/office/drawing/2014/main" id="{0D6D84F7-3768-951F-B642-30D0BBCEFAD5}"/>
              </a:ext>
            </a:extLst>
          </p:cNvPr>
          <p:cNvSpPr>
            <a:spLocks/>
          </p:cNvSpPr>
          <p:nvPr/>
        </p:nvSpPr>
        <p:spPr>
          <a:xfrm>
            <a:off x="3929401" y="6260870"/>
            <a:ext cx="521253" cy="88098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639CE9E6-791E-2FBC-C7F6-EDA4698E222E}"/>
              </a:ext>
            </a:extLst>
          </p:cNvPr>
          <p:cNvSpPr>
            <a:spLocks/>
          </p:cNvSpPr>
          <p:nvPr/>
        </p:nvSpPr>
        <p:spPr>
          <a:xfrm>
            <a:off x="4667289" y="6258292"/>
            <a:ext cx="521253" cy="88098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42" name="直線コネクタ 141">
            <a:extLst>
              <a:ext uri="{FF2B5EF4-FFF2-40B4-BE49-F238E27FC236}">
                <a16:creationId xmlns:a16="http://schemas.microsoft.com/office/drawing/2014/main" id="{8771DB38-C10C-B9AE-B0E1-97085CBC596C}"/>
              </a:ext>
            </a:extLst>
          </p:cNvPr>
          <p:cNvCxnSpPr>
            <a:cxnSpLocks/>
          </p:cNvCxnSpPr>
          <p:nvPr/>
        </p:nvCxnSpPr>
        <p:spPr>
          <a:xfrm flipH="1">
            <a:off x="4927916" y="6348968"/>
            <a:ext cx="70" cy="8082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コネクタ 142">
            <a:extLst>
              <a:ext uri="{FF2B5EF4-FFF2-40B4-BE49-F238E27FC236}">
                <a16:creationId xmlns:a16="http://schemas.microsoft.com/office/drawing/2014/main" id="{57BD36CE-5BD3-0432-9A60-8BF8770695DB}"/>
              </a:ext>
            </a:extLst>
          </p:cNvPr>
          <p:cNvCxnSpPr>
            <a:cxnSpLocks/>
          </p:cNvCxnSpPr>
          <p:nvPr/>
        </p:nvCxnSpPr>
        <p:spPr>
          <a:xfrm>
            <a:off x="4549555" y="6429797"/>
            <a:ext cx="0" cy="170186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4E2505C-A713-2CE9-9928-B651A53A6DAB}"/>
              </a:ext>
            </a:extLst>
          </p:cNvPr>
          <p:cNvSpPr txBox="1"/>
          <p:nvPr/>
        </p:nvSpPr>
        <p:spPr>
          <a:xfrm>
            <a:off x="20345" y="960992"/>
            <a:ext cx="4729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側（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）</a:t>
            </a:r>
            <a:endParaRPr kumimoji="1" lang="ja-JP" altLang="en-US" sz="2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字幕 14">
            <a:extLst>
              <a:ext uri="{FF2B5EF4-FFF2-40B4-BE49-F238E27FC236}">
                <a16:creationId xmlns:a16="http://schemas.microsoft.com/office/drawing/2014/main" id="{9748FBDB-0211-93DA-9B28-B9C4CA29DB1B}"/>
              </a:ext>
            </a:extLst>
          </p:cNvPr>
          <p:cNvSpPr txBox="1">
            <a:spLocks/>
          </p:cNvSpPr>
          <p:nvPr/>
        </p:nvSpPr>
        <p:spPr>
          <a:xfrm>
            <a:off x="6146800" y="1022481"/>
            <a:ext cx="3114884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</a:t>
            </a:r>
            <a:endParaRPr lang="en-US" altLang="ja-JP" sz="1600" b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機種により異なり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AA0308-78BE-8819-C300-21D523C9A2EB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38367779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43348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D8AB44E-7CD4-8613-587D-41E5020FE965}"/>
              </a:ext>
            </a:extLst>
          </p:cNvPr>
          <p:cNvSpPr>
            <a:spLocks/>
          </p:cNvSpPr>
          <p:nvPr/>
        </p:nvSpPr>
        <p:spPr>
          <a:xfrm>
            <a:off x="4131193" y="5990787"/>
            <a:ext cx="763070" cy="252000"/>
          </a:xfrm>
          <a:prstGeom prst="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FD84EC6-058A-1D96-DDD9-E163DEE28B24}"/>
              </a:ext>
            </a:extLst>
          </p:cNvPr>
          <p:cNvSpPr txBox="1"/>
          <p:nvPr/>
        </p:nvSpPr>
        <p:spPr>
          <a:xfrm>
            <a:off x="5682953" y="5206008"/>
            <a:ext cx="2691763" cy="1115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番下に表示されている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黒い線がホームボタン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じ機能を果たします</a:t>
            </a:r>
            <a:endParaRPr kumimoji="1" lang="ja-JP" altLang="en-US" dirty="0">
              <a:solidFill>
                <a:srgbClr val="FF33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C559F6E3-E28B-925B-71E8-79C810A908FA}"/>
              </a:ext>
            </a:extLst>
          </p:cNvPr>
          <p:cNvGrpSpPr/>
          <p:nvPr/>
        </p:nvGrpSpPr>
        <p:grpSpPr>
          <a:xfrm>
            <a:off x="3274372" y="1722814"/>
            <a:ext cx="2477645" cy="4532673"/>
            <a:chOff x="3274372" y="1722814"/>
            <a:chExt cx="2477645" cy="4532673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A40CD6E9-D718-08DB-E2DE-A86D014142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3028"/>
            <a:stretch/>
          </p:blipFill>
          <p:spPr>
            <a:xfrm>
              <a:off x="3274372" y="1722814"/>
              <a:ext cx="2477645" cy="4532673"/>
            </a:xfrm>
            <a:prstGeom prst="rect">
              <a:avLst/>
            </a:prstGeom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07C335DE-CCD9-2285-659D-2D7398E356C6}"/>
                </a:ext>
              </a:extLst>
            </p:cNvPr>
            <p:cNvSpPr/>
            <p:nvPr/>
          </p:nvSpPr>
          <p:spPr>
            <a:xfrm>
              <a:off x="3595159" y="2348229"/>
              <a:ext cx="1883815" cy="219607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E9BA473B-4564-D4BD-529D-A10F18D8C0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7" t="11316" r="4298" b="1904"/>
            <a:stretch/>
          </p:blipFill>
          <p:spPr bwMode="auto">
            <a:xfrm>
              <a:off x="3547385" y="2465007"/>
              <a:ext cx="1931590" cy="32535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609CDC19-4C10-E2B9-8B40-A120AA9F5501}"/>
              </a:ext>
            </a:extLst>
          </p:cNvPr>
          <p:cNvSpPr>
            <a:spLocks/>
          </p:cNvSpPr>
          <p:nvPr/>
        </p:nvSpPr>
        <p:spPr>
          <a:xfrm>
            <a:off x="4117546" y="5974105"/>
            <a:ext cx="763070" cy="252001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9FAA846-34CD-46AF-EF52-2224C47F16A0}"/>
              </a:ext>
            </a:extLst>
          </p:cNvPr>
          <p:cNvSpPr txBox="1"/>
          <p:nvPr/>
        </p:nvSpPr>
        <p:spPr>
          <a:xfrm>
            <a:off x="20345" y="960992"/>
            <a:ext cx="47802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5"/>
            <a:r>
              <a:rPr kumimoji="1" lang="ja-JP" altLang="en-US" sz="2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（</a:t>
            </a:r>
            <a:r>
              <a:rPr lang="ja-JP" altLang="en-US" sz="24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）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AEA6075-AB71-8E30-F65B-366A3BF09D8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447762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FFF4AF00-9033-DFB4-145F-F59284B210B9}"/>
              </a:ext>
            </a:extLst>
          </p:cNvPr>
          <p:cNvGrpSpPr>
            <a:grpSpLocks noChangeAspect="1"/>
          </p:cNvGrpSpPr>
          <p:nvPr/>
        </p:nvGrpSpPr>
        <p:grpSpPr>
          <a:xfrm>
            <a:off x="3374759" y="1722903"/>
            <a:ext cx="2394481" cy="4787666"/>
            <a:chOff x="963093" y="2708920"/>
            <a:chExt cx="1683367" cy="3456000"/>
          </a:xfrm>
        </p:grpSpPr>
        <p:grpSp>
          <p:nvGrpSpPr>
            <p:cNvPr id="6" name="グループ化 5">
              <a:extLst>
                <a:ext uri="{FF2B5EF4-FFF2-40B4-BE49-F238E27FC236}">
                  <a16:creationId xmlns:a16="http://schemas.microsoft.com/office/drawing/2014/main" id="{2A844396-63A6-50BF-0B82-48204E46EFE6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16" name="図 15">
                <a:extLst>
                  <a:ext uri="{FF2B5EF4-FFF2-40B4-BE49-F238E27FC236}">
                    <a16:creationId xmlns:a16="http://schemas.microsoft.com/office/drawing/2014/main" id="{03C74601-F1C4-C307-A760-694511BD07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8" name="正方形/長方形 17">
                <a:extLst>
                  <a:ext uri="{FF2B5EF4-FFF2-40B4-BE49-F238E27FC236}">
                    <a16:creationId xmlns:a16="http://schemas.microsoft.com/office/drawing/2014/main" id="{E17F1FDF-6741-D635-5F83-77BF175E31C4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grpSp>
          <p:nvGrpSpPr>
            <p:cNvPr id="8" name="グループ化 7">
              <a:extLst>
                <a:ext uri="{FF2B5EF4-FFF2-40B4-BE49-F238E27FC236}">
                  <a16:creationId xmlns:a16="http://schemas.microsoft.com/office/drawing/2014/main" id="{4A18ADEE-94D7-94A7-B641-AB3630B28A09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9" name="図 8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104D9391-4CFD-D31F-63F0-BFF71F3348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14" name="図 13">
                <a:extLst>
                  <a:ext uri="{FF2B5EF4-FFF2-40B4-BE49-F238E27FC236}">
                    <a16:creationId xmlns:a16="http://schemas.microsoft.com/office/drawing/2014/main" id="{5CFE486D-0DF0-8E61-6A93-466E041486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940611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917053" y="1302781"/>
            <a:ext cx="130989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8516C248-4ABC-8605-D129-207DA793ECE4}"/>
              </a:ext>
            </a:extLst>
          </p:cNvPr>
          <p:cNvSpPr/>
          <p:nvPr/>
        </p:nvSpPr>
        <p:spPr>
          <a:xfrm>
            <a:off x="4310511" y="5962229"/>
            <a:ext cx="496608" cy="454344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755076DC-DCE6-59A4-D495-630EE9F64F8C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464CCEC-08E1-AFC6-B56E-F4104C9E98C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655A34DF-7F3D-62D7-1819-BBB53FB65D2A}"/>
              </a:ext>
            </a:extLst>
          </p:cNvPr>
          <p:cNvSpPr txBox="1"/>
          <p:nvPr/>
        </p:nvSpPr>
        <p:spPr>
          <a:xfrm>
            <a:off x="1432882" y="6007602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839666A1-11DC-9FA2-DE91-9093A3BA5C47}"/>
              </a:ext>
            </a:extLst>
          </p:cNvPr>
          <p:cNvCxnSpPr>
            <a:cxnSpLocks/>
            <a:stCxn id="5" idx="3"/>
            <a:endCxn id="22" idx="1"/>
          </p:cNvCxnSpPr>
          <p:nvPr/>
        </p:nvCxnSpPr>
        <p:spPr>
          <a:xfrm flipV="1">
            <a:off x="2965674" y="6189401"/>
            <a:ext cx="1344837" cy="2867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3963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904007" y="301189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</a:t>
            </a:r>
            <a:r>
              <a:rPr lang="ja-JP" altLang="en-US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．ボタン操作の仕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96AFC9F-EDC7-DCF4-9C2E-581AA491A2B9}"/>
              </a:ext>
            </a:extLst>
          </p:cNvPr>
          <p:cNvSpPr txBox="1"/>
          <p:nvPr/>
        </p:nvSpPr>
        <p:spPr>
          <a:xfrm>
            <a:off x="1904007" y="50833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ja-JP" altLang="en-US" sz="2800" b="1" spc="-3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．電源の入れ方</a:t>
            </a:r>
            <a:endParaRPr lang="en-US" altLang="ja-JP" sz="2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20AB875-436F-0888-5150-90666F065C2E}"/>
              </a:ext>
            </a:extLst>
          </p:cNvPr>
          <p:cNvSpPr/>
          <p:nvPr/>
        </p:nvSpPr>
        <p:spPr>
          <a:xfrm>
            <a:off x="1904007" y="1193712"/>
            <a:ext cx="6926095" cy="165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　電源を入れるには？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　電源を切るときは？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スリープモードにする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９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9643060-2086-F65F-C57F-4810574FD0D3}"/>
              </a:ext>
            </a:extLst>
          </p:cNvPr>
          <p:cNvSpPr/>
          <p:nvPr/>
        </p:nvSpPr>
        <p:spPr>
          <a:xfrm>
            <a:off x="1904007" y="3697272"/>
            <a:ext cx="6926095" cy="213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A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・音量ボタン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 P1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B  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各部の役割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 P1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ホーム画面に戻るには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 P1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Ｄ　表示の見方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１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Ｅ　コントロールセンターの表示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 P2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Ｆ　マナーモードに設定する方法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2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DAD2BFBC-4D95-2A64-BCD4-298B1BE31D9B}"/>
              </a:ext>
            </a:extLst>
          </p:cNvPr>
          <p:cNvGrpSpPr>
            <a:grpSpLocks noChangeAspect="1"/>
          </p:cNvGrpSpPr>
          <p:nvPr/>
        </p:nvGrpSpPr>
        <p:grpSpPr>
          <a:xfrm>
            <a:off x="5730914" y="2096432"/>
            <a:ext cx="2262590" cy="4337276"/>
            <a:chOff x="963093" y="2708920"/>
            <a:chExt cx="1683367" cy="3456000"/>
          </a:xfrm>
        </p:grpSpPr>
        <p:grpSp>
          <p:nvGrpSpPr>
            <p:cNvPr id="22" name="グループ化 21">
              <a:extLst>
                <a:ext uri="{FF2B5EF4-FFF2-40B4-BE49-F238E27FC236}">
                  <a16:creationId xmlns:a16="http://schemas.microsoft.com/office/drawing/2014/main" id="{A61C933D-F7E6-4DC4-3DBA-572F90DD3897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9" name="図 28">
                <a:extLst>
                  <a:ext uri="{FF2B5EF4-FFF2-40B4-BE49-F238E27FC236}">
                    <a16:creationId xmlns:a16="http://schemas.microsoft.com/office/drawing/2014/main" id="{A8FDC998-6240-166B-CEE4-0F6986D479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30" name="正方形/長方形 29">
                <a:extLst>
                  <a:ext uri="{FF2B5EF4-FFF2-40B4-BE49-F238E27FC236}">
                    <a16:creationId xmlns:a16="http://schemas.microsoft.com/office/drawing/2014/main" id="{204F21F4-355E-165E-D9F0-15E82FDB2F09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1EC955D0-10A9-F7D1-0A40-7AB06602675C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5" name="図 2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DAA9B3E6-B33E-D133-6809-7BDDFFB103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7" name="図 26">
                <a:extLst>
                  <a:ext uri="{FF2B5EF4-FFF2-40B4-BE49-F238E27FC236}">
                    <a16:creationId xmlns:a16="http://schemas.microsoft.com/office/drawing/2014/main" id="{B8E5423F-F6E9-D6B2-6E50-2DA0D0959A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8" name="図形グループ 8" descr="アプリが開いている画面の画像">
            <a:extLst>
              <a:ext uri="{FF2B5EF4-FFF2-40B4-BE49-F238E27FC236}">
                <a16:creationId xmlns:a16="http://schemas.microsoft.com/office/drawing/2014/main" id="{D0C33770-B33E-1FB8-BD2C-870DF0B150A6}"/>
              </a:ext>
            </a:extLst>
          </p:cNvPr>
          <p:cNvGrpSpPr>
            <a:grpSpLocks noChangeAspect="1"/>
          </p:cNvGrpSpPr>
          <p:nvPr/>
        </p:nvGrpSpPr>
        <p:grpSpPr>
          <a:xfrm>
            <a:off x="1139757" y="2096432"/>
            <a:ext cx="2262590" cy="4388701"/>
            <a:chOff x="4023323" y="2711265"/>
            <a:chExt cx="1484781" cy="2880000"/>
          </a:xfrm>
        </p:grpSpPr>
        <p:grpSp>
          <p:nvGrpSpPr>
            <p:cNvPr id="9" name="グループ化 44">
              <a:extLst>
                <a:ext uri="{FF2B5EF4-FFF2-40B4-BE49-F238E27FC236}">
                  <a16:creationId xmlns:a16="http://schemas.microsoft.com/office/drawing/2014/main" id="{E09C8818-039A-AEF2-C833-4BDF76DDB86A}"/>
                </a:ext>
              </a:extLst>
            </p:cNvPr>
            <p:cNvGrpSpPr/>
            <p:nvPr/>
          </p:nvGrpSpPr>
          <p:grpSpPr>
            <a:xfrm>
              <a:off x="4023323" y="2711265"/>
              <a:ext cx="1484781" cy="2880000"/>
              <a:chOff x="1108042" y="2746115"/>
              <a:chExt cx="1971823" cy="3943644"/>
            </a:xfrm>
          </p:grpSpPr>
          <p:pic>
            <p:nvPicPr>
              <p:cNvPr id="16" name="図 15">
                <a:extLst>
                  <a:ext uri="{FF2B5EF4-FFF2-40B4-BE49-F238E27FC236}">
                    <a16:creationId xmlns:a16="http://schemas.microsoft.com/office/drawing/2014/main" id="{F295EB26-A264-368A-0634-7428B8265A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8" name="正方形/長方形 17">
                <a:extLst>
                  <a:ext uri="{FF2B5EF4-FFF2-40B4-BE49-F238E27FC236}">
                    <a16:creationId xmlns:a16="http://schemas.microsoft.com/office/drawing/2014/main" id="{D0F2CC6C-98E6-3A9A-7905-C19C1C003A01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6C130B4D-8A0A-6BD4-466B-38672C920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2315" y="3005695"/>
              <a:ext cx="1289033" cy="2268000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字幕 14">
            <a:extLst>
              <a:ext uri="{FF2B5EF4-FFF2-40B4-BE49-F238E27FC236}">
                <a16:creationId xmlns:a16="http://schemas.microsoft.com/office/drawing/2014/main" id="{0AAD00F8-7CA6-8F56-EFD6-22F6F5386D13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A6B6C0C-09EC-9CBF-15BA-E816BE51FCD8}"/>
              </a:ext>
            </a:extLst>
          </p:cNvPr>
          <p:cNvSpPr txBox="1"/>
          <p:nvPr/>
        </p:nvSpPr>
        <p:spPr>
          <a:xfrm>
            <a:off x="556392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1497556C-3750-39A2-875B-4D971A919DEC}"/>
              </a:ext>
            </a:extLst>
          </p:cNvPr>
          <p:cNvSpPr txBox="1"/>
          <p:nvPr/>
        </p:nvSpPr>
        <p:spPr>
          <a:xfrm>
            <a:off x="1135818" y="1391516"/>
            <a:ext cx="277781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DCBEB81B-94F8-A353-E5EC-937636C64799}"/>
              </a:ext>
            </a:extLst>
          </p:cNvPr>
          <p:cNvSpPr txBox="1"/>
          <p:nvPr/>
        </p:nvSpPr>
        <p:spPr>
          <a:xfrm>
            <a:off x="5604407" y="1393221"/>
            <a:ext cx="3428467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EE9EF08-AFBB-E727-71C1-AE4049D03529}"/>
              </a:ext>
            </a:extLst>
          </p:cNvPr>
          <p:cNvSpPr txBox="1"/>
          <p:nvPr/>
        </p:nvSpPr>
        <p:spPr>
          <a:xfrm>
            <a:off x="50670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0912AAEE-41B2-DF5F-A9B7-A8E92ED26043}"/>
              </a:ext>
            </a:extLst>
          </p:cNvPr>
          <p:cNvSpPr/>
          <p:nvPr/>
        </p:nvSpPr>
        <p:spPr>
          <a:xfrm>
            <a:off x="2003245" y="5962229"/>
            <a:ext cx="496608" cy="454344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AE4D7B2-07BA-6A80-351A-DA95FA21E7C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F9362CC-94C0-446F-0D5F-59C91B0317A0}"/>
              </a:ext>
            </a:extLst>
          </p:cNvPr>
          <p:cNvSpPr txBox="1"/>
          <p:nvPr/>
        </p:nvSpPr>
        <p:spPr>
          <a:xfrm>
            <a:off x="3716119" y="6006606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8BD8A60F-2158-9FD8-9EF9-778E5E8B1067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>
            <a:off x="2499853" y="6189401"/>
            <a:ext cx="1216266" cy="1871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48301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ホーム画面の画像">
            <a:extLst>
              <a:ext uri="{FF2B5EF4-FFF2-40B4-BE49-F238E27FC236}">
                <a16:creationId xmlns:a16="http://schemas.microsoft.com/office/drawing/2014/main" id="{7AE179E7-07AA-17FA-BC3E-E2F2175282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364" y="1638679"/>
            <a:ext cx="2669269" cy="5042576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917C409-3145-56F6-934A-D6A4F7502506}"/>
              </a:ext>
            </a:extLst>
          </p:cNvPr>
          <p:cNvSpPr txBox="1"/>
          <p:nvPr/>
        </p:nvSpPr>
        <p:spPr>
          <a:xfrm>
            <a:off x="3917053" y="1302781"/>
            <a:ext cx="130989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03546B2C-9FEF-355C-8198-918FE9770B7C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E29E074-066F-A824-74D8-D52B980F0C2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23050148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DD7CA1D7-8B58-A950-326C-8CB77EDA85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028"/>
          <a:stretch/>
        </p:blipFill>
        <p:spPr>
          <a:xfrm>
            <a:off x="1057979" y="2220979"/>
            <a:ext cx="2477645" cy="4532673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0D12605-8E74-F33F-132F-5B6EB93CA51F}"/>
              </a:ext>
            </a:extLst>
          </p:cNvPr>
          <p:cNvSpPr/>
          <p:nvPr/>
        </p:nvSpPr>
        <p:spPr>
          <a:xfrm>
            <a:off x="1378766" y="2846394"/>
            <a:ext cx="1883815" cy="219607"/>
          </a:xfrm>
          <a:prstGeom prst="rect">
            <a:avLst/>
          </a:prstGeom>
          <a:solidFill>
            <a:schemeClr val="bg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F088A3A9-8BDA-A3EC-E45D-CF0D24E9FF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7" t="11316" r="4298" b="1904"/>
          <a:stretch/>
        </p:blipFill>
        <p:spPr bwMode="auto">
          <a:xfrm>
            <a:off x="1330992" y="2963172"/>
            <a:ext cx="1931590" cy="3253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図 6" descr="ホーム画面の画像">
            <a:extLst>
              <a:ext uri="{FF2B5EF4-FFF2-40B4-BE49-F238E27FC236}">
                <a16:creationId xmlns:a16="http://schemas.microsoft.com/office/drawing/2014/main" id="{FB883A86-0039-FFCE-D7F9-E90C6DC96BD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24"/>
          <a:stretch/>
        </p:blipFill>
        <p:spPr>
          <a:xfrm>
            <a:off x="5608376" y="2220979"/>
            <a:ext cx="2477645" cy="4539034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53333988-400E-E232-7E2C-E2F4C161B84F}"/>
              </a:ext>
            </a:extLst>
          </p:cNvPr>
          <p:cNvSpPr>
            <a:spLocks/>
          </p:cNvSpPr>
          <p:nvPr/>
        </p:nvSpPr>
        <p:spPr>
          <a:xfrm>
            <a:off x="1842984" y="6489908"/>
            <a:ext cx="911617" cy="252000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上矢印 41">
            <a:extLst>
              <a:ext uri="{FF2B5EF4-FFF2-40B4-BE49-F238E27FC236}">
                <a16:creationId xmlns:a16="http://schemas.microsoft.com/office/drawing/2014/main" id="{D4B9A60B-3D1E-661B-3816-E09C76C3F390}"/>
              </a:ext>
            </a:extLst>
          </p:cNvPr>
          <p:cNvSpPr>
            <a:spLocks/>
          </p:cNvSpPr>
          <p:nvPr/>
        </p:nvSpPr>
        <p:spPr>
          <a:xfrm>
            <a:off x="1906384" y="4386684"/>
            <a:ext cx="830788" cy="2035221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2D595CD-6D7C-2EEF-A189-564B53F87C64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DBBBEA3-08CB-E331-4CC7-6D79FDAEEEA1}"/>
              </a:ext>
            </a:extLst>
          </p:cNvPr>
          <p:cNvSpPr txBox="1"/>
          <p:nvPr/>
        </p:nvSpPr>
        <p:spPr>
          <a:xfrm>
            <a:off x="556392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4269CE63-813C-25CE-10EF-E7D953BF50AC}"/>
              </a:ext>
            </a:extLst>
          </p:cNvPr>
          <p:cNvSpPr txBox="1"/>
          <p:nvPr/>
        </p:nvSpPr>
        <p:spPr>
          <a:xfrm>
            <a:off x="1135818" y="1391516"/>
            <a:ext cx="2777814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下の横線を上へ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ライドさせ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BFEA3BC7-42B8-630E-6454-904E20F6B919}"/>
              </a:ext>
            </a:extLst>
          </p:cNvPr>
          <p:cNvSpPr txBox="1"/>
          <p:nvPr/>
        </p:nvSpPr>
        <p:spPr>
          <a:xfrm>
            <a:off x="5604407" y="1393221"/>
            <a:ext cx="3428467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0C67E81B-69A7-4281-3704-AD5C060B3893}"/>
              </a:ext>
            </a:extLst>
          </p:cNvPr>
          <p:cNvSpPr txBox="1"/>
          <p:nvPr/>
        </p:nvSpPr>
        <p:spPr>
          <a:xfrm>
            <a:off x="50670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E394157-A6BB-F431-60A5-6C552706E5C8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974222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359398BE-631E-4925-CAC8-E91B09120B50}"/>
              </a:ext>
            </a:extLst>
          </p:cNvPr>
          <p:cNvGrpSpPr/>
          <p:nvPr/>
        </p:nvGrpSpPr>
        <p:grpSpPr>
          <a:xfrm>
            <a:off x="413908" y="2728540"/>
            <a:ext cx="3830619" cy="1177378"/>
            <a:chOff x="-3748625" y="3215832"/>
            <a:chExt cx="3855697" cy="1165649"/>
          </a:xfrm>
        </p:grpSpPr>
        <p:pic>
          <p:nvPicPr>
            <p:cNvPr id="19" name="図 18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94F686F6-4CC1-A5BB-BE14-62A0C10A28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83003"/>
            <a:stretch/>
          </p:blipFill>
          <p:spPr>
            <a:xfrm>
              <a:off x="-3748625" y="3215832"/>
              <a:ext cx="3855697" cy="1165649"/>
            </a:xfrm>
            <a:prstGeom prst="rect">
              <a:avLst/>
            </a:prstGeom>
          </p:spPr>
        </p:pic>
        <p:pic>
          <p:nvPicPr>
            <p:cNvPr id="22" name="図 21">
              <a:extLst>
                <a:ext uri="{FF2B5EF4-FFF2-40B4-BE49-F238E27FC236}">
                  <a16:creationId xmlns:a16="http://schemas.microsoft.com/office/drawing/2014/main" id="{FF911BFD-22EA-7E96-1B32-20C9FFBA7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3509259" y="3256071"/>
              <a:ext cx="453174" cy="119973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タイトル 1">
            <a:extLst>
              <a:ext uri="{FF2B5EF4-FFF2-40B4-BE49-F238E27FC236}">
                <a16:creationId xmlns:a16="http://schemas.microsoft.com/office/drawing/2014/main" id="{12C80FD5-E963-A16D-9469-1FD8BFBF591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D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F74BD248-F5DB-7964-96EF-4BB216B71CE3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4518540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表示の見方</a:t>
            </a:r>
          </a:p>
        </p:txBody>
      </p:sp>
      <p:pic>
        <p:nvPicPr>
          <p:cNvPr id="3" name="図 2" descr="iPhoneX以降の機種の画面の一番上を拡大した画像">
            <a:extLst>
              <a:ext uri="{FF2B5EF4-FFF2-40B4-BE49-F238E27FC236}">
                <a16:creationId xmlns:a16="http://schemas.microsoft.com/office/drawing/2014/main" id="{E689D58A-26AF-64A2-9019-A648E94241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6321" y="4716948"/>
            <a:ext cx="4262300" cy="1031924"/>
          </a:xfrm>
          <a:prstGeom prst="rect">
            <a:avLst/>
          </a:prstGeom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DC5FA6FE-3CE6-6753-612A-5D1AF7638832}"/>
              </a:ext>
            </a:extLst>
          </p:cNvPr>
          <p:cNvSpPr txBox="1"/>
          <p:nvPr/>
        </p:nvSpPr>
        <p:spPr>
          <a:xfrm>
            <a:off x="139470" y="2012448"/>
            <a:ext cx="4432530" cy="39562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ja-JP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ja-JP" altLang="en-US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263DB11B-ADD0-9976-D7CF-470D3452A178}"/>
              </a:ext>
            </a:extLst>
          </p:cNvPr>
          <p:cNvSpPr txBox="1"/>
          <p:nvPr/>
        </p:nvSpPr>
        <p:spPr>
          <a:xfrm>
            <a:off x="139469" y="4382434"/>
            <a:ext cx="4315073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ja-JP" altLang="en-US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無い機種</a:t>
            </a:r>
          </a:p>
        </p:txBody>
      </p:sp>
      <p:grpSp>
        <p:nvGrpSpPr>
          <p:cNvPr id="42" name="グループ化 41">
            <a:extLst>
              <a:ext uri="{FF2B5EF4-FFF2-40B4-BE49-F238E27FC236}">
                <a16:creationId xmlns:a16="http://schemas.microsoft.com/office/drawing/2014/main" id="{6386884A-EAA3-1557-53D1-7C2B0CAF179A}"/>
              </a:ext>
            </a:extLst>
          </p:cNvPr>
          <p:cNvGrpSpPr/>
          <p:nvPr/>
        </p:nvGrpSpPr>
        <p:grpSpPr>
          <a:xfrm>
            <a:off x="5862421" y="4192256"/>
            <a:ext cx="3202560" cy="517040"/>
            <a:chOff x="5561339" y="4429969"/>
            <a:chExt cx="3202560" cy="517040"/>
          </a:xfrm>
        </p:grpSpPr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B3447C1D-E451-6808-BDB1-75E333780E94}"/>
                </a:ext>
              </a:extLst>
            </p:cNvPr>
            <p:cNvSpPr txBox="1"/>
            <p:nvPr/>
          </p:nvSpPr>
          <p:spPr>
            <a:xfrm>
              <a:off x="6015541" y="4499826"/>
              <a:ext cx="27483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アラームの設定</a:t>
              </a:r>
              <a:endPara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27" name="図 2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B76DBFE-C7E0-BA59-D90B-D4B6AE38EE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0569" t="470" r="16696" b="97574"/>
            <a:stretch/>
          </p:blipFill>
          <p:spPr>
            <a:xfrm>
              <a:off x="5561339" y="4429969"/>
              <a:ext cx="454202" cy="517040"/>
            </a:xfrm>
            <a:prstGeom prst="rect">
              <a:avLst/>
            </a:prstGeom>
          </p:spPr>
        </p:pic>
      </p:grpSp>
      <p:grpSp>
        <p:nvGrpSpPr>
          <p:cNvPr id="41" name="グループ化 40">
            <a:extLst>
              <a:ext uri="{FF2B5EF4-FFF2-40B4-BE49-F238E27FC236}">
                <a16:creationId xmlns:a16="http://schemas.microsoft.com/office/drawing/2014/main" id="{9222EB9C-06A7-C0D0-2D67-2912FF41282F}"/>
              </a:ext>
            </a:extLst>
          </p:cNvPr>
          <p:cNvGrpSpPr/>
          <p:nvPr/>
        </p:nvGrpSpPr>
        <p:grpSpPr>
          <a:xfrm>
            <a:off x="5862421" y="3330383"/>
            <a:ext cx="3202560" cy="431481"/>
            <a:chOff x="5561339" y="3605087"/>
            <a:chExt cx="3202560" cy="431481"/>
          </a:xfrm>
        </p:grpSpPr>
        <p:pic>
          <p:nvPicPr>
            <p:cNvPr id="28" name="図 2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A202CB5-BA7B-EEAB-E474-773D235450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7313" t="424" r="77848" b="97347"/>
            <a:stretch/>
          </p:blipFill>
          <p:spPr>
            <a:xfrm>
              <a:off x="5561339" y="3605087"/>
              <a:ext cx="457517" cy="431481"/>
            </a:xfrm>
            <a:prstGeom prst="rect">
              <a:avLst/>
            </a:prstGeom>
          </p:spPr>
        </p:pic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A1A06684-1C33-DFFF-4FF3-78506008186B}"/>
                </a:ext>
              </a:extLst>
            </p:cNvPr>
            <p:cNvSpPr txBox="1"/>
            <p:nvPr/>
          </p:nvSpPr>
          <p:spPr>
            <a:xfrm>
              <a:off x="6015541" y="3636161"/>
              <a:ext cx="27483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ja-JP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Wi-Fi</a:t>
              </a:r>
              <a:r>
                <a: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の接続状況</a:t>
              </a:r>
              <a:endPara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77A1CBCD-C886-1EA8-B13D-34A0CE84BA89}"/>
              </a:ext>
            </a:extLst>
          </p:cNvPr>
          <p:cNvGrpSpPr/>
          <p:nvPr/>
        </p:nvGrpSpPr>
        <p:grpSpPr>
          <a:xfrm>
            <a:off x="5054883" y="5139687"/>
            <a:ext cx="3776589" cy="517040"/>
            <a:chOff x="4753801" y="5340409"/>
            <a:chExt cx="3776589" cy="517040"/>
          </a:xfrm>
        </p:grpSpPr>
        <p:pic>
          <p:nvPicPr>
            <p:cNvPr id="29" name="図 28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C1837F0-63B6-0477-52C6-84C8F3B52D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3538" t="-666" b="96888"/>
            <a:stretch/>
          </p:blipFill>
          <p:spPr>
            <a:xfrm>
              <a:off x="4753801" y="5340409"/>
              <a:ext cx="1266630" cy="517040"/>
            </a:xfrm>
            <a:prstGeom prst="rect">
              <a:avLst/>
            </a:prstGeom>
          </p:spPr>
        </p:pic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F9084A6E-E08D-80CE-272C-0428EDFD0603}"/>
                </a:ext>
              </a:extLst>
            </p:cNvPr>
            <p:cNvSpPr txBox="1"/>
            <p:nvPr/>
          </p:nvSpPr>
          <p:spPr>
            <a:xfrm>
              <a:off x="6015542" y="5464183"/>
              <a:ext cx="25148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バッテリー残量の表示</a:t>
              </a:r>
              <a:endPara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3A8535BE-CCDF-66BC-2CF8-2105C0E05697}"/>
              </a:ext>
            </a:extLst>
          </p:cNvPr>
          <p:cNvGrpSpPr/>
          <p:nvPr/>
        </p:nvGrpSpPr>
        <p:grpSpPr>
          <a:xfrm>
            <a:off x="5862420" y="2441159"/>
            <a:ext cx="3202560" cy="458832"/>
            <a:chOff x="5561338" y="2641881"/>
            <a:chExt cx="3202560" cy="458832"/>
          </a:xfrm>
        </p:grpSpPr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F804B97-F00F-1705-3555-7338A6FB0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38" t="-165" r="92664" b="97326"/>
            <a:stretch/>
          </p:blipFill>
          <p:spPr>
            <a:xfrm>
              <a:off x="5561338" y="2641881"/>
              <a:ext cx="457519" cy="458832"/>
            </a:xfrm>
            <a:prstGeom prst="rect">
              <a:avLst/>
            </a:prstGeom>
          </p:spPr>
        </p:pic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7684B606-6543-4A8D-AAF9-3E0C3E291B16}"/>
                </a:ext>
              </a:extLst>
            </p:cNvPr>
            <p:cNvSpPr txBox="1"/>
            <p:nvPr/>
          </p:nvSpPr>
          <p:spPr>
            <a:xfrm>
              <a:off x="6015539" y="2686631"/>
              <a:ext cx="27483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通信電波の状況</a:t>
              </a:r>
              <a:endPara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" name="字幕 14">
            <a:extLst>
              <a:ext uri="{FF2B5EF4-FFF2-40B4-BE49-F238E27FC236}">
                <a16:creationId xmlns:a16="http://schemas.microsoft.com/office/drawing/2014/main" id="{9994924E-F076-92CE-78E2-17A90AF1B3C9}"/>
              </a:ext>
            </a:extLst>
          </p:cNvPr>
          <p:cNvSpPr txBox="1">
            <a:spLocks/>
          </p:cNvSpPr>
          <p:nvPr/>
        </p:nvSpPr>
        <p:spPr>
          <a:xfrm>
            <a:off x="373536" y="907654"/>
            <a:ext cx="8413625" cy="88533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最上部に、各種の情報や通知が来ている事を伝えてくれる表示が出ています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7019C43-56F2-7867-8E01-0B43D7585E52}"/>
              </a:ext>
            </a:extLst>
          </p:cNvPr>
          <p:cNvSpPr>
            <a:spLocks/>
          </p:cNvSpPr>
          <p:nvPr/>
        </p:nvSpPr>
        <p:spPr>
          <a:xfrm>
            <a:off x="305453" y="2574412"/>
            <a:ext cx="3995907" cy="378171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7E5A797-9451-3CB5-F08F-83783109D4A6}"/>
              </a:ext>
            </a:extLst>
          </p:cNvPr>
          <p:cNvSpPr>
            <a:spLocks/>
          </p:cNvSpPr>
          <p:nvPr/>
        </p:nvSpPr>
        <p:spPr>
          <a:xfrm>
            <a:off x="305452" y="4999654"/>
            <a:ext cx="3995907" cy="378171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890B5C0-202A-81ED-75EC-7F5FA9143FB3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5556504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1EBCB039-30F9-50CA-E4E9-19641854BCF2}"/>
              </a:ext>
            </a:extLst>
          </p:cNvPr>
          <p:cNvGrpSpPr/>
          <p:nvPr/>
        </p:nvGrpSpPr>
        <p:grpSpPr>
          <a:xfrm>
            <a:off x="3471202" y="2516419"/>
            <a:ext cx="2174532" cy="4284051"/>
            <a:chOff x="697549" y="2740440"/>
            <a:chExt cx="1704195" cy="3357439"/>
          </a:xfrm>
        </p:grpSpPr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749C97C1-45C2-C0A8-49A2-9A59FB692B68}"/>
                </a:ext>
              </a:extLst>
            </p:cNvPr>
            <p:cNvGrpSpPr/>
            <p:nvPr/>
          </p:nvGrpSpPr>
          <p:grpSpPr>
            <a:xfrm>
              <a:off x="697549" y="2740440"/>
              <a:ext cx="1704195" cy="3357439"/>
              <a:chOff x="963093" y="2708920"/>
              <a:chExt cx="1683367" cy="3456000"/>
            </a:xfrm>
          </p:grpSpPr>
          <p:grpSp>
            <p:nvGrpSpPr>
              <p:cNvPr id="6" name="グループ化 5">
                <a:extLst>
                  <a:ext uri="{FF2B5EF4-FFF2-40B4-BE49-F238E27FC236}">
                    <a16:creationId xmlns:a16="http://schemas.microsoft.com/office/drawing/2014/main" id="{9E455E2E-9683-F855-EE52-57ED0D0F4069}"/>
                  </a:ext>
                </a:extLst>
              </p:cNvPr>
              <p:cNvGrpSpPr/>
              <p:nvPr/>
            </p:nvGrpSpPr>
            <p:grpSpPr>
              <a:xfrm>
                <a:off x="963093" y="2708920"/>
                <a:ext cx="1683367" cy="3456000"/>
                <a:chOff x="1108042" y="2746115"/>
                <a:chExt cx="1971823" cy="3943644"/>
              </a:xfrm>
            </p:grpSpPr>
            <p:pic>
              <p:nvPicPr>
                <p:cNvPr id="14" name="図 13">
                  <a:extLst>
                    <a:ext uri="{FF2B5EF4-FFF2-40B4-BE49-F238E27FC236}">
                      <a16:creationId xmlns:a16="http://schemas.microsoft.com/office/drawing/2014/main" id="{AFD3B328-E38D-CC28-B629-B9AF28DFE5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08042" y="2746115"/>
                  <a:ext cx="1971823" cy="3943644"/>
                </a:xfrm>
                <a:prstGeom prst="rect">
                  <a:avLst/>
                </a:prstGeom>
              </p:spPr>
            </p:pic>
            <p:sp>
              <p:nvSpPr>
                <p:cNvPr id="15" name="正方形/長方形 14">
                  <a:extLst>
                    <a:ext uri="{FF2B5EF4-FFF2-40B4-BE49-F238E27FC236}">
                      <a16:creationId xmlns:a16="http://schemas.microsoft.com/office/drawing/2014/main" id="{A1D7328C-7131-7492-2CE6-BA97C343E44E}"/>
                    </a:ext>
                  </a:extLst>
                </p:cNvPr>
                <p:cNvSpPr/>
                <p:nvPr/>
              </p:nvSpPr>
              <p:spPr>
                <a:xfrm>
                  <a:off x="1231899" y="3171825"/>
                  <a:ext cx="1692000" cy="3047992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latin typeface="BIZ UDPゴシック" panose="020B0400000000000000" pitchFamily="50" charset="-128"/>
                    <a:ea typeface="BIZ UDPゴシック" panose="020B0400000000000000" pitchFamily="50" charset="-128"/>
                  </a:endParaRPr>
                </a:p>
              </p:txBody>
            </p:sp>
          </p:grpSp>
          <p:grpSp>
            <p:nvGrpSpPr>
              <p:cNvPr id="7" name="グループ化 6">
                <a:extLst>
                  <a:ext uri="{FF2B5EF4-FFF2-40B4-BE49-F238E27FC236}">
                    <a16:creationId xmlns:a16="http://schemas.microsoft.com/office/drawing/2014/main" id="{CFFADFE0-D60A-5BB2-E4BE-76FCF0AFC756}"/>
                  </a:ext>
                </a:extLst>
              </p:cNvPr>
              <p:cNvGrpSpPr/>
              <p:nvPr/>
            </p:nvGrpSpPr>
            <p:grpSpPr>
              <a:xfrm>
                <a:off x="1049783" y="3081990"/>
                <a:ext cx="1486945" cy="2671098"/>
                <a:chOff x="1049783" y="3081990"/>
                <a:chExt cx="1486945" cy="2671098"/>
              </a:xfrm>
            </p:grpSpPr>
            <p:pic>
              <p:nvPicPr>
                <p:cNvPr id="10" name="図 9" descr="グラフィカル ユーザー インターフェイス, アプリケーション&#10;&#10;自動的に生成された説明">
                  <a:extLst>
                    <a:ext uri="{FF2B5EF4-FFF2-40B4-BE49-F238E27FC236}">
                      <a16:creationId xmlns:a16="http://schemas.microsoft.com/office/drawing/2014/main" id="{98C86A7C-27D1-9BE8-8A10-5B41036DB5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49783" y="3081990"/>
                  <a:ext cx="1486945" cy="2671098"/>
                </a:xfrm>
                <a:prstGeom prst="rect">
                  <a:avLst/>
                </a:prstGeom>
              </p:spPr>
            </p:pic>
            <p:pic>
              <p:nvPicPr>
                <p:cNvPr id="13" name="図 12">
                  <a:extLst>
                    <a:ext uri="{FF2B5EF4-FFF2-40B4-BE49-F238E27FC236}">
                      <a16:creationId xmlns:a16="http://schemas.microsoft.com/office/drawing/2014/main" id="{5E65CE62-2D9B-EDF9-CA49-6A66E15103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151909" y="3095450"/>
                  <a:ext cx="141356" cy="54658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上矢印 41">
              <a:extLst>
                <a:ext uri="{FF2B5EF4-FFF2-40B4-BE49-F238E27FC236}">
                  <a16:creationId xmlns:a16="http://schemas.microsoft.com/office/drawing/2014/main" id="{CAC97C8B-83D5-8DEF-0397-D2B0E5B9C2D4}"/>
                </a:ext>
              </a:extLst>
            </p:cNvPr>
            <p:cNvSpPr>
              <a:spLocks/>
            </p:cNvSpPr>
            <p:nvPr/>
          </p:nvSpPr>
          <p:spPr>
            <a:xfrm>
              <a:off x="1222932" y="4027024"/>
              <a:ext cx="651094" cy="1595016"/>
            </a:xfrm>
            <a:prstGeom prst="upArrow">
              <a:avLst/>
            </a:prstGeom>
            <a:solidFill>
              <a:schemeClr val="bg1"/>
            </a:solidFill>
            <a:ln w="28575">
              <a:solidFill>
                <a:srgbClr val="FF3300"/>
              </a:solidFill>
              <a:prstDash val="sysDot"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67276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コントロールセンターの表示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380102" y="1298053"/>
            <a:ext cx="3517608" cy="496793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  <a:endParaRPr lang="en-US" altLang="ja-JP" sz="24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7B50EAEC-102C-49D3-8450-6CFCA72FD68F}"/>
              </a:ext>
            </a:extLst>
          </p:cNvPr>
          <p:cNvGrpSpPr/>
          <p:nvPr/>
        </p:nvGrpSpPr>
        <p:grpSpPr>
          <a:xfrm>
            <a:off x="2153712" y="1883982"/>
            <a:ext cx="4817525" cy="584647"/>
            <a:chOff x="2200889" y="1713588"/>
            <a:chExt cx="4817525" cy="584647"/>
          </a:xfrm>
        </p:grpSpPr>
        <p:sp>
          <p:nvSpPr>
            <p:cNvPr id="4" name="テキスト ボックス 3">
              <a:extLst>
                <a:ext uri="{FF2B5EF4-FFF2-40B4-BE49-F238E27FC236}">
                  <a16:creationId xmlns:a16="http://schemas.microsoft.com/office/drawing/2014/main" id="{844D94F6-C127-E494-F674-6C81C47438F1}"/>
                </a:ext>
              </a:extLst>
            </p:cNvPr>
            <p:cNvSpPr txBox="1"/>
            <p:nvPr/>
          </p:nvSpPr>
          <p:spPr>
            <a:xfrm>
              <a:off x="2748912" y="1808107"/>
              <a:ext cx="4269502" cy="395611"/>
            </a:xfrm>
            <a:prstGeom prst="rect">
              <a:avLst/>
            </a:prstGeom>
            <a:noFill/>
          </p:spPr>
          <p:txBody>
            <a:bodyPr wrap="square" lIns="91431" tIns="45715" rIns="91431" bIns="45715" rtlCol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画面の一番下から上にスライドします</a:t>
              </a:r>
              <a:endPara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04E81908-CD66-33D7-0387-1A1F819551E2}"/>
                </a:ext>
              </a:extLst>
            </p:cNvPr>
            <p:cNvSpPr txBox="1"/>
            <p:nvPr/>
          </p:nvSpPr>
          <p:spPr>
            <a:xfrm>
              <a:off x="2200889" y="1713588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 dirty="0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755C52F-F589-80CB-07C0-6ECA3BC901B9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7799827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AE0504DD-BC20-49FB-848B-75AF04A3DC8D}"/>
              </a:ext>
            </a:extLst>
          </p:cNvPr>
          <p:cNvGrpSpPr/>
          <p:nvPr/>
        </p:nvGrpSpPr>
        <p:grpSpPr>
          <a:xfrm>
            <a:off x="3454384" y="2423291"/>
            <a:ext cx="2206961" cy="4347940"/>
            <a:chOff x="11514757" y="3429000"/>
            <a:chExt cx="1653960" cy="3258472"/>
          </a:xfrm>
        </p:grpSpPr>
        <p:grpSp>
          <p:nvGrpSpPr>
            <p:cNvPr id="23" name="グループ化 22">
              <a:extLst>
                <a:ext uri="{FF2B5EF4-FFF2-40B4-BE49-F238E27FC236}">
                  <a16:creationId xmlns:a16="http://schemas.microsoft.com/office/drawing/2014/main" id="{1BF69E22-C4BF-9018-1C20-73B2AAB3CF5D}"/>
                </a:ext>
              </a:extLst>
            </p:cNvPr>
            <p:cNvGrpSpPr/>
            <p:nvPr/>
          </p:nvGrpSpPr>
          <p:grpSpPr>
            <a:xfrm>
              <a:off x="11514757" y="3429000"/>
              <a:ext cx="1653960" cy="3258472"/>
              <a:chOff x="963093" y="2708920"/>
              <a:chExt cx="1683367" cy="3456000"/>
            </a:xfrm>
          </p:grpSpPr>
          <p:grpSp>
            <p:nvGrpSpPr>
              <p:cNvPr id="29" name="グループ化 28">
                <a:extLst>
                  <a:ext uri="{FF2B5EF4-FFF2-40B4-BE49-F238E27FC236}">
                    <a16:creationId xmlns:a16="http://schemas.microsoft.com/office/drawing/2014/main" id="{25701214-A90A-2DA4-85AE-14A9EFC17925}"/>
                  </a:ext>
                </a:extLst>
              </p:cNvPr>
              <p:cNvGrpSpPr/>
              <p:nvPr/>
            </p:nvGrpSpPr>
            <p:grpSpPr>
              <a:xfrm>
                <a:off x="963093" y="2708920"/>
                <a:ext cx="1683367" cy="3456000"/>
                <a:chOff x="1108042" y="2746115"/>
                <a:chExt cx="1971823" cy="3943644"/>
              </a:xfrm>
            </p:grpSpPr>
            <p:pic>
              <p:nvPicPr>
                <p:cNvPr id="33" name="図 32">
                  <a:extLst>
                    <a:ext uri="{FF2B5EF4-FFF2-40B4-BE49-F238E27FC236}">
                      <a16:creationId xmlns:a16="http://schemas.microsoft.com/office/drawing/2014/main" id="{21509BD1-D5E5-7251-3BF6-9317C3D835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08042" y="2746115"/>
                  <a:ext cx="1971823" cy="3943644"/>
                </a:xfrm>
                <a:prstGeom prst="rect">
                  <a:avLst/>
                </a:prstGeom>
              </p:spPr>
            </p:pic>
            <p:sp>
              <p:nvSpPr>
                <p:cNvPr id="34" name="正方形/長方形 33">
                  <a:extLst>
                    <a:ext uri="{FF2B5EF4-FFF2-40B4-BE49-F238E27FC236}">
                      <a16:creationId xmlns:a16="http://schemas.microsoft.com/office/drawing/2014/main" id="{1BEDFE9A-3E69-A215-D7AB-4285E572E216}"/>
                    </a:ext>
                  </a:extLst>
                </p:cNvPr>
                <p:cNvSpPr/>
                <p:nvPr/>
              </p:nvSpPr>
              <p:spPr>
                <a:xfrm>
                  <a:off x="1231899" y="3171825"/>
                  <a:ext cx="1692000" cy="3047992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latin typeface="BIZ UDPゴシック" panose="020B0400000000000000" pitchFamily="50" charset="-128"/>
                    <a:ea typeface="BIZ UDPゴシック" panose="020B0400000000000000" pitchFamily="50" charset="-128"/>
                  </a:endParaRPr>
                </a:p>
              </p:txBody>
            </p:sp>
          </p:grpSp>
          <p:grpSp>
            <p:nvGrpSpPr>
              <p:cNvPr id="30" name="グループ化 29">
                <a:extLst>
                  <a:ext uri="{FF2B5EF4-FFF2-40B4-BE49-F238E27FC236}">
                    <a16:creationId xmlns:a16="http://schemas.microsoft.com/office/drawing/2014/main" id="{F1023D46-6A12-5F01-7D6A-51BCDB0B8406}"/>
                  </a:ext>
                </a:extLst>
              </p:cNvPr>
              <p:cNvGrpSpPr/>
              <p:nvPr/>
            </p:nvGrpSpPr>
            <p:grpSpPr>
              <a:xfrm>
                <a:off x="1049783" y="3081990"/>
                <a:ext cx="1486945" cy="2671098"/>
                <a:chOff x="1049783" y="3081990"/>
                <a:chExt cx="1486945" cy="2671098"/>
              </a:xfrm>
            </p:grpSpPr>
            <p:pic>
              <p:nvPicPr>
                <p:cNvPr id="31" name="図 30" descr="グラフィカル ユーザー インターフェイス, アプリケーション&#10;&#10;自動的に生成された説明">
                  <a:extLst>
                    <a:ext uri="{FF2B5EF4-FFF2-40B4-BE49-F238E27FC236}">
                      <a16:creationId xmlns:a16="http://schemas.microsoft.com/office/drawing/2014/main" id="{C8518B10-427B-53D9-9AEF-37B42D82D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49783" y="3081990"/>
                  <a:ext cx="1486945" cy="2671098"/>
                </a:xfrm>
                <a:prstGeom prst="rect">
                  <a:avLst/>
                </a:prstGeom>
              </p:spPr>
            </p:pic>
            <p:pic>
              <p:nvPicPr>
                <p:cNvPr id="32" name="図 31">
                  <a:extLst>
                    <a:ext uri="{FF2B5EF4-FFF2-40B4-BE49-F238E27FC236}">
                      <a16:creationId xmlns:a16="http://schemas.microsoft.com/office/drawing/2014/main" id="{686F3C2F-3790-DCE3-A88D-51ED7282BB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151909" y="3095450"/>
                  <a:ext cx="141356" cy="5465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C5BC12C7-7B1C-52FC-4DCD-C7292E6E0BEE}"/>
                </a:ext>
              </a:extLst>
            </p:cNvPr>
            <p:cNvGrpSpPr/>
            <p:nvPr/>
          </p:nvGrpSpPr>
          <p:grpSpPr>
            <a:xfrm>
              <a:off x="11586666" y="3771220"/>
              <a:ext cx="1503144" cy="2538100"/>
              <a:chOff x="10287237" y="1723370"/>
              <a:chExt cx="3855697" cy="6883943"/>
            </a:xfrm>
          </p:grpSpPr>
          <p:pic>
            <p:nvPicPr>
              <p:cNvPr id="25" name="図 24" descr="電子機器, リモコン が含まれている画像&#10;&#10;自動的に生成された説明">
                <a:extLst>
                  <a:ext uri="{FF2B5EF4-FFF2-40B4-BE49-F238E27FC236}">
                    <a16:creationId xmlns:a16="http://schemas.microsoft.com/office/drawing/2014/main" id="{B58F2FF1-94B7-C86F-61D7-AA15BA8908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287237" y="1723370"/>
                <a:ext cx="3855697" cy="6883943"/>
              </a:xfrm>
              <a:prstGeom prst="rect">
                <a:avLst/>
              </a:prstGeom>
            </p:spPr>
          </p:pic>
          <p:pic>
            <p:nvPicPr>
              <p:cNvPr id="27" name="図 26" descr="電子機器, リモコン が含まれている画像&#10;&#10;自動的に生成された説明">
                <a:extLst>
                  <a:ext uri="{FF2B5EF4-FFF2-40B4-BE49-F238E27FC236}">
                    <a16:creationId xmlns:a16="http://schemas.microsoft.com/office/drawing/2014/main" id="{DA63CB12-59F9-BBBE-C270-12A8F30A5B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6317" t="11798" r="71212" b="85438"/>
              <a:stretch/>
            </p:blipFill>
            <p:spPr>
              <a:xfrm>
                <a:off x="10837198" y="2857003"/>
                <a:ext cx="480824" cy="189547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67276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コントロールセンターの表示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380101" y="1298053"/>
            <a:ext cx="3827831" cy="496793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  <a:endParaRPr lang="en-US" altLang="ja-JP" sz="24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0AA45E97-4F5F-8F82-77D2-E3259B76FE0C}"/>
              </a:ext>
            </a:extLst>
          </p:cNvPr>
          <p:cNvSpPr/>
          <p:nvPr/>
        </p:nvSpPr>
        <p:spPr>
          <a:xfrm>
            <a:off x="155689" y="2198744"/>
            <a:ext cx="4154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Ⓐ</a:t>
            </a:r>
            <a:endParaRPr lang="en-US" altLang="ja-JP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D252A560-10B5-B5EE-EB2D-BD2E59EFF10D}"/>
              </a:ext>
            </a:extLst>
          </p:cNvPr>
          <p:cNvSpPr txBox="1"/>
          <p:nvPr/>
        </p:nvSpPr>
        <p:spPr>
          <a:xfrm>
            <a:off x="441785" y="2198744"/>
            <a:ext cx="2020105" cy="1475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Bluetooth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無線イヤフォンや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補聴器への接続に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使用します</a:t>
            </a:r>
          </a:p>
        </p:txBody>
      </p:sp>
      <p:cxnSp>
        <p:nvCxnSpPr>
          <p:cNvPr id="37" name="コネクタ: カギ線 62">
            <a:extLst>
              <a:ext uri="{FF2B5EF4-FFF2-40B4-BE49-F238E27FC236}">
                <a16:creationId xmlns:a16="http://schemas.microsoft.com/office/drawing/2014/main" id="{280DB057-D001-A54B-D0F1-513DD757D4F0}"/>
              </a:ext>
            </a:extLst>
          </p:cNvPr>
          <p:cNvCxnSpPr>
            <a:cxnSpLocks/>
            <a:stCxn id="36" idx="3"/>
          </p:cNvCxnSpPr>
          <p:nvPr/>
        </p:nvCxnSpPr>
        <p:spPr>
          <a:xfrm>
            <a:off x="2461890" y="2936703"/>
            <a:ext cx="1831412" cy="1136683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9913A764-D2D3-0234-7648-9F1BA64592B3}"/>
              </a:ext>
            </a:extLst>
          </p:cNvPr>
          <p:cNvSpPr txBox="1"/>
          <p:nvPr/>
        </p:nvSpPr>
        <p:spPr>
          <a:xfrm>
            <a:off x="1997134" y="3662481"/>
            <a:ext cx="128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内モード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8EC072CD-EF16-D991-E9E7-D9CABD7D4779}"/>
              </a:ext>
            </a:extLst>
          </p:cNvPr>
          <p:cNvSpPr/>
          <p:nvPr/>
        </p:nvSpPr>
        <p:spPr>
          <a:xfrm>
            <a:off x="1687828" y="3646727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Ⓑ</a:t>
            </a:r>
            <a:endParaRPr lang="en-US" altLang="ja-JP" sz="3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42" name="直線矢印コネクタ 41">
            <a:extLst>
              <a:ext uri="{FF2B5EF4-FFF2-40B4-BE49-F238E27FC236}">
                <a16:creationId xmlns:a16="http://schemas.microsoft.com/office/drawing/2014/main" id="{A344EBD7-E65C-4AF3-4E22-C9DB2D713763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3278254" y="3847147"/>
            <a:ext cx="51633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13B2B314-DE87-3F6D-1C79-C3A2EF3809CB}"/>
              </a:ext>
            </a:extLst>
          </p:cNvPr>
          <p:cNvSpPr txBox="1"/>
          <p:nvPr/>
        </p:nvSpPr>
        <p:spPr>
          <a:xfrm>
            <a:off x="1997075" y="4004636"/>
            <a:ext cx="8210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i-Fi</a:t>
            </a: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A9077AA2-B409-8FE2-5D8E-FC77D9B461E3}"/>
              </a:ext>
            </a:extLst>
          </p:cNvPr>
          <p:cNvSpPr/>
          <p:nvPr/>
        </p:nvSpPr>
        <p:spPr>
          <a:xfrm>
            <a:off x="1689190" y="3983171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Ⓒ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49" name="直線矢印コネクタ 48">
            <a:extLst>
              <a:ext uri="{FF2B5EF4-FFF2-40B4-BE49-F238E27FC236}">
                <a16:creationId xmlns:a16="http://schemas.microsoft.com/office/drawing/2014/main" id="{315DA395-9E88-4205-8D6F-D40A44083995}"/>
              </a:ext>
            </a:extLst>
          </p:cNvPr>
          <p:cNvCxnSpPr>
            <a:cxnSpLocks/>
          </p:cNvCxnSpPr>
          <p:nvPr/>
        </p:nvCxnSpPr>
        <p:spPr>
          <a:xfrm>
            <a:off x="3102579" y="4202795"/>
            <a:ext cx="66819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9F65EAA9-202C-EFD7-CD6A-2C4233F74BD4}"/>
              </a:ext>
            </a:extLst>
          </p:cNvPr>
          <p:cNvSpPr/>
          <p:nvPr/>
        </p:nvSpPr>
        <p:spPr>
          <a:xfrm>
            <a:off x="1677693" y="4474404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Ⓓ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BF1CD72F-0D3B-E543-8C45-D7C293A9ADBD}"/>
              </a:ext>
            </a:extLst>
          </p:cNvPr>
          <p:cNvSpPr txBox="1"/>
          <p:nvPr/>
        </p:nvSpPr>
        <p:spPr>
          <a:xfrm>
            <a:off x="1997075" y="4465919"/>
            <a:ext cx="15445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回転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</a:t>
            </a:r>
          </a:p>
        </p:txBody>
      </p:sp>
      <p:cxnSp>
        <p:nvCxnSpPr>
          <p:cNvPr id="58" name="直線矢印コネクタ 57">
            <a:extLst>
              <a:ext uri="{FF2B5EF4-FFF2-40B4-BE49-F238E27FC236}">
                <a16:creationId xmlns:a16="http://schemas.microsoft.com/office/drawing/2014/main" id="{46085AF9-8820-6637-95F6-A0409FF9CDA8}"/>
              </a:ext>
            </a:extLst>
          </p:cNvPr>
          <p:cNvCxnSpPr>
            <a:cxnSpLocks/>
          </p:cNvCxnSpPr>
          <p:nvPr/>
        </p:nvCxnSpPr>
        <p:spPr>
          <a:xfrm flipV="1">
            <a:off x="3312635" y="4667685"/>
            <a:ext cx="448609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D63413AB-45F7-3978-60AF-ED1733FF9038}"/>
              </a:ext>
            </a:extLst>
          </p:cNvPr>
          <p:cNvSpPr txBox="1"/>
          <p:nvPr/>
        </p:nvSpPr>
        <p:spPr>
          <a:xfrm>
            <a:off x="1997075" y="5104362"/>
            <a:ext cx="100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タイマー</a:t>
            </a: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543EAE91-2939-6183-0CF6-A5AE73B2E531}"/>
              </a:ext>
            </a:extLst>
          </p:cNvPr>
          <p:cNvSpPr/>
          <p:nvPr/>
        </p:nvSpPr>
        <p:spPr>
          <a:xfrm>
            <a:off x="1666589" y="5104362"/>
            <a:ext cx="338196" cy="4122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Ⓔ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62" name="コネクタ: カギ線 70">
            <a:extLst>
              <a:ext uri="{FF2B5EF4-FFF2-40B4-BE49-F238E27FC236}">
                <a16:creationId xmlns:a16="http://schemas.microsoft.com/office/drawing/2014/main" id="{3F6E8646-4B97-D433-FC50-D14FD7DE92EF}"/>
              </a:ext>
            </a:extLst>
          </p:cNvPr>
          <p:cNvCxnSpPr/>
          <p:nvPr/>
        </p:nvCxnSpPr>
        <p:spPr>
          <a:xfrm>
            <a:off x="3018257" y="5287266"/>
            <a:ext cx="1298269" cy="151340"/>
          </a:xfrm>
          <a:prstGeom prst="bentConnector3">
            <a:avLst>
              <a:gd name="adj1" fmla="val 100000"/>
            </a:avLst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917717BF-EAC6-D0CE-9ECA-8D527EEC536D}"/>
              </a:ext>
            </a:extLst>
          </p:cNvPr>
          <p:cNvSpPr txBox="1"/>
          <p:nvPr/>
        </p:nvSpPr>
        <p:spPr>
          <a:xfrm>
            <a:off x="1968290" y="54736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懐中電灯</a:t>
            </a:r>
          </a:p>
        </p:txBody>
      </p:sp>
      <p:sp>
        <p:nvSpPr>
          <p:cNvPr id="160" name="正方形/長方形 159">
            <a:extLst>
              <a:ext uri="{FF2B5EF4-FFF2-40B4-BE49-F238E27FC236}">
                <a16:creationId xmlns:a16="http://schemas.microsoft.com/office/drawing/2014/main" id="{A820088B-5F10-379E-2AB4-BDB7B919B9D9}"/>
              </a:ext>
            </a:extLst>
          </p:cNvPr>
          <p:cNvSpPr/>
          <p:nvPr/>
        </p:nvSpPr>
        <p:spPr>
          <a:xfrm>
            <a:off x="1655343" y="5473694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Ⓕ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161" name="直線矢印コネクタ 160">
            <a:extLst>
              <a:ext uri="{FF2B5EF4-FFF2-40B4-BE49-F238E27FC236}">
                <a16:creationId xmlns:a16="http://schemas.microsoft.com/office/drawing/2014/main" id="{DA69F24F-CC84-D35E-8F38-725759DD91DE}"/>
              </a:ext>
            </a:extLst>
          </p:cNvPr>
          <p:cNvCxnSpPr>
            <a:cxnSpLocks/>
            <a:stCxn id="63" idx="3"/>
          </p:cNvCxnSpPr>
          <p:nvPr/>
        </p:nvCxnSpPr>
        <p:spPr>
          <a:xfrm flipV="1">
            <a:off x="3076286" y="5586954"/>
            <a:ext cx="614446" cy="7140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正方形/長方形 165">
            <a:extLst>
              <a:ext uri="{FF2B5EF4-FFF2-40B4-BE49-F238E27FC236}">
                <a16:creationId xmlns:a16="http://schemas.microsoft.com/office/drawing/2014/main" id="{FEF752B7-8EE7-46F0-50AD-6926A1CC7D46}"/>
              </a:ext>
            </a:extLst>
          </p:cNvPr>
          <p:cNvSpPr/>
          <p:nvPr/>
        </p:nvSpPr>
        <p:spPr>
          <a:xfrm>
            <a:off x="1659965" y="5946578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Ⓖ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7" name="テキスト ボックス 166">
            <a:extLst>
              <a:ext uri="{FF2B5EF4-FFF2-40B4-BE49-F238E27FC236}">
                <a16:creationId xmlns:a16="http://schemas.microsoft.com/office/drawing/2014/main" id="{2BEE4F22-52F5-2632-9F6A-20C35797B055}"/>
              </a:ext>
            </a:extLst>
          </p:cNvPr>
          <p:cNvSpPr txBox="1"/>
          <p:nvPr/>
        </p:nvSpPr>
        <p:spPr>
          <a:xfrm>
            <a:off x="1950398" y="5894509"/>
            <a:ext cx="11849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QR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コー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読み取り</a:t>
            </a: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8" name="直線矢印コネクタ 167">
            <a:extLst>
              <a:ext uri="{FF2B5EF4-FFF2-40B4-BE49-F238E27FC236}">
                <a16:creationId xmlns:a16="http://schemas.microsoft.com/office/drawing/2014/main" id="{1FF679E7-D34C-7AF1-4D99-3506FF6C0A8A}"/>
              </a:ext>
            </a:extLst>
          </p:cNvPr>
          <p:cNvCxnSpPr>
            <a:cxnSpLocks/>
            <a:stCxn id="167" idx="3"/>
          </p:cNvCxnSpPr>
          <p:nvPr/>
        </p:nvCxnSpPr>
        <p:spPr>
          <a:xfrm flipV="1">
            <a:off x="3135338" y="6015675"/>
            <a:ext cx="537566" cy="20200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正方形/長方形 169">
            <a:extLst>
              <a:ext uri="{FF2B5EF4-FFF2-40B4-BE49-F238E27FC236}">
                <a16:creationId xmlns:a16="http://schemas.microsoft.com/office/drawing/2014/main" id="{1E028211-7DB4-56D9-8148-9BE84A3986A0}"/>
              </a:ext>
            </a:extLst>
          </p:cNvPr>
          <p:cNvSpPr/>
          <p:nvPr/>
        </p:nvSpPr>
        <p:spPr>
          <a:xfrm>
            <a:off x="5581029" y="4514517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Ⓗ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1" name="テキスト ボックス 170">
            <a:extLst>
              <a:ext uri="{FF2B5EF4-FFF2-40B4-BE49-F238E27FC236}">
                <a16:creationId xmlns:a16="http://schemas.microsoft.com/office/drawing/2014/main" id="{B18E2713-DEA4-52BB-41E4-98B63D8B50A7}"/>
              </a:ext>
            </a:extLst>
          </p:cNvPr>
          <p:cNvSpPr txBox="1"/>
          <p:nvPr/>
        </p:nvSpPr>
        <p:spPr>
          <a:xfrm>
            <a:off x="5896089" y="4524410"/>
            <a:ext cx="15552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明るさ</a:t>
            </a:r>
          </a:p>
        </p:txBody>
      </p:sp>
      <p:cxnSp>
        <p:nvCxnSpPr>
          <p:cNvPr id="172" name="コネクタ: カギ線 75">
            <a:extLst>
              <a:ext uri="{FF2B5EF4-FFF2-40B4-BE49-F238E27FC236}">
                <a16:creationId xmlns:a16="http://schemas.microsoft.com/office/drawing/2014/main" id="{55935DAF-B3B7-7BB5-4BEA-2115151F278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77465" y="4714155"/>
            <a:ext cx="797878" cy="249530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テキスト ボックス 177">
            <a:extLst>
              <a:ext uri="{FF2B5EF4-FFF2-40B4-BE49-F238E27FC236}">
                <a16:creationId xmlns:a16="http://schemas.microsoft.com/office/drawing/2014/main" id="{B950BFBB-3882-4060-37E5-C1A6B812B922}"/>
              </a:ext>
            </a:extLst>
          </p:cNvPr>
          <p:cNvSpPr txBox="1"/>
          <p:nvPr/>
        </p:nvSpPr>
        <p:spPr>
          <a:xfrm>
            <a:off x="5940656" y="493445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</a:p>
        </p:txBody>
      </p:sp>
      <p:sp>
        <p:nvSpPr>
          <p:cNvPr id="179" name="正方形/長方形 178">
            <a:extLst>
              <a:ext uri="{FF2B5EF4-FFF2-40B4-BE49-F238E27FC236}">
                <a16:creationId xmlns:a16="http://schemas.microsoft.com/office/drawing/2014/main" id="{FEA987F9-86C1-9A27-116F-50069C799B90}"/>
              </a:ext>
            </a:extLst>
          </p:cNvPr>
          <p:cNvSpPr/>
          <p:nvPr/>
        </p:nvSpPr>
        <p:spPr>
          <a:xfrm>
            <a:off x="5598731" y="4895181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Ⓘ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180" name="直線矢印コネクタ 179">
            <a:extLst>
              <a:ext uri="{FF2B5EF4-FFF2-40B4-BE49-F238E27FC236}">
                <a16:creationId xmlns:a16="http://schemas.microsoft.com/office/drawing/2014/main" id="{3103091E-7038-8A36-027F-0AAD1DB36AAE}"/>
              </a:ext>
            </a:extLst>
          </p:cNvPr>
          <p:cNvCxnSpPr>
            <a:cxnSpLocks/>
          </p:cNvCxnSpPr>
          <p:nvPr/>
        </p:nvCxnSpPr>
        <p:spPr>
          <a:xfrm flipH="1">
            <a:off x="5322744" y="5106853"/>
            <a:ext cx="331184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正方形/長方形 180">
            <a:extLst>
              <a:ext uri="{FF2B5EF4-FFF2-40B4-BE49-F238E27FC236}">
                <a16:creationId xmlns:a16="http://schemas.microsoft.com/office/drawing/2014/main" id="{A94896D9-A4FE-461F-011A-09A55A5BDBBE}"/>
              </a:ext>
            </a:extLst>
          </p:cNvPr>
          <p:cNvSpPr/>
          <p:nvPr/>
        </p:nvSpPr>
        <p:spPr>
          <a:xfrm>
            <a:off x="5622256" y="5315115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Ⓙ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2" name="テキスト ボックス 181">
            <a:extLst>
              <a:ext uri="{FF2B5EF4-FFF2-40B4-BE49-F238E27FC236}">
                <a16:creationId xmlns:a16="http://schemas.microsoft.com/office/drawing/2014/main" id="{EAE1636E-A3C3-9B6C-5548-05CB6CDD2000}"/>
              </a:ext>
            </a:extLst>
          </p:cNvPr>
          <p:cNvSpPr txBox="1"/>
          <p:nvPr/>
        </p:nvSpPr>
        <p:spPr>
          <a:xfrm>
            <a:off x="5980391" y="5343053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メラ</a:t>
            </a:r>
          </a:p>
        </p:txBody>
      </p:sp>
      <p:cxnSp>
        <p:nvCxnSpPr>
          <p:cNvPr id="183" name="直線矢印コネクタ 182">
            <a:extLst>
              <a:ext uri="{FF2B5EF4-FFF2-40B4-BE49-F238E27FC236}">
                <a16:creationId xmlns:a16="http://schemas.microsoft.com/office/drawing/2014/main" id="{193CFACA-6BB1-C14F-D7D0-B38593B784A8}"/>
              </a:ext>
            </a:extLst>
          </p:cNvPr>
          <p:cNvCxnSpPr>
            <a:cxnSpLocks/>
          </p:cNvCxnSpPr>
          <p:nvPr/>
        </p:nvCxnSpPr>
        <p:spPr>
          <a:xfrm flipH="1">
            <a:off x="5346269" y="5508769"/>
            <a:ext cx="331184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テキスト ボックス 183">
            <a:extLst>
              <a:ext uri="{FF2B5EF4-FFF2-40B4-BE49-F238E27FC236}">
                <a16:creationId xmlns:a16="http://schemas.microsoft.com/office/drawing/2014/main" id="{ECFA7BFE-880C-B1BD-00CF-1F02C32F1B9D}"/>
              </a:ext>
            </a:extLst>
          </p:cNvPr>
          <p:cNvSpPr txBox="1"/>
          <p:nvPr/>
        </p:nvSpPr>
        <p:spPr>
          <a:xfrm>
            <a:off x="5989329" y="580389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卓</a:t>
            </a:r>
          </a:p>
        </p:txBody>
      </p:sp>
      <p:cxnSp>
        <p:nvCxnSpPr>
          <p:cNvPr id="185" name="コネクタ: カギ線 84">
            <a:extLst>
              <a:ext uri="{FF2B5EF4-FFF2-40B4-BE49-F238E27FC236}">
                <a16:creationId xmlns:a16="http://schemas.microsoft.com/office/drawing/2014/main" id="{2D5EF28B-E8CB-FFA6-0F62-86720129AFFD}"/>
              </a:ext>
            </a:extLst>
          </p:cNvPr>
          <p:cNvCxnSpPr>
            <a:cxnSpLocks/>
            <a:stCxn id="186" idx="1"/>
          </p:cNvCxnSpPr>
          <p:nvPr/>
        </p:nvCxnSpPr>
        <p:spPr>
          <a:xfrm rot="10800000">
            <a:off x="4787816" y="5721790"/>
            <a:ext cx="872493" cy="259653"/>
          </a:xfrm>
          <a:prstGeom prst="bentConnector3">
            <a:avLst>
              <a:gd name="adj1" fmla="val 100200"/>
            </a:avLst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正方形/長方形 185">
            <a:extLst>
              <a:ext uri="{FF2B5EF4-FFF2-40B4-BE49-F238E27FC236}">
                <a16:creationId xmlns:a16="http://schemas.microsoft.com/office/drawing/2014/main" id="{E2C2A7CE-C8C6-0908-3F86-48D06C49B4CE}"/>
              </a:ext>
            </a:extLst>
          </p:cNvPr>
          <p:cNvSpPr/>
          <p:nvPr/>
        </p:nvSpPr>
        <p:spPr>
          <a:xfrm>
            <a:off x="5660308" y="5775311"/>
            <a:ext cx="454545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Ⓚ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2633A99A-7C2E-7D42-EEE0-417404E067CA}"/>
              </a:ext>
            </a:extLst>
          </p:cNvPr>
          <p:cNvSpPr txBox="1"/>
          <p:nvPr/>
        </p:nvSpPr>
        <p:spPr>
          <a:xfrm>
            <a:off x="2714011" y="1901050"/>
            <a:ext cx="421997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コントロールセンターが表示されます</a:t>
            </a: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8DA587B7-9DCE-7EAA-8ECC-FFA561F8B73F}"/>
              </a:ext>
            </a:extLst>
          </p:cNvPr>
          <p:cNvSpPr txBox="1"/>
          <p:nvPr/>
        </p:nvSpPr>
        <p:spPr>
          <a:xfrm>
            <a:off x="2153712" y="1799315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CFB20B38-7B7B-3613-A9FE-5F2D39BF2707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4A5301A-47C7-95EB-91D6-332FB3A0FBCE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2085277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上矢印 93">
            <a:extLst>
              <a:ext uri="{FF2B5EF4-FFF2-40B4-BE49-F238E27FC236}">
                <a16:creationId xmlns:a16="http://schemas.microsoft.com/office/drawing/2014/main" id="{02755635-97FD-AC76-42EB-DCF3BF171FA5}"/>
              </a:ext>
            </a:extLst>
          </p:cNvPr>
          <p:cNvSpPr>
            <a:spLocks/>
          </p:cNvSpPr>
          <p:nvPr/>
        </p:nvSpPr>
        <p:spPr>
          <a:xfrm>
            <a:off x="6688778" y="4775489"/>
            <a:ext cx="663779" cy="1759887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AED4BAB2-0995-2820-A789-99263613264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27965" y="5630644"/>
            <a:ext cx="642713" cy="733286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AB696E05-C2D6-4512-2D8C-5E26E51F4C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7566" y="2428101"/>
            <a:ext cx="2344292" cy="4399718"/>
          </a:xfrm>
          <a:prstGeom prst="rect">
            <a:avLst/>
          </a:prstGeom>
        </p:spPr>
      </p:pic>
      <p:pic>
        <p:nvPicPr>
          <p:cNvPr id="4" name="図 3" descr="ホーム画面の画像">
            <a:extLst>
              <a:ext uri="{FF2B5EF4-FFF2-40B4-BE49-F238E27FC236}">
                <a16:creationId xmlns:a16="http://schemas.microsoft.com/office/drawing/2014/main" id="{B94C7F27-6239-D066-3E14-7D9B10529E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443" y="2429341"/>
            <a:ext cx="2344293" cy="4428659"/>
          </a:xfrm>
          <a:prstGeom prst="rect">
            <a:avLst/>
          </a:prstGeom>
        </p:spPr>
      </p:pic>
      <p:sp>
        <p:nvSpPr>
          <p:cNvPr id="5" name="上矢印 41">
            <a:extLst>
              <a:ext uri="{FF2B5EF4-FFF2-40B4-BE49-F238E27FC236}">
                <a16:creationId xmlns:a16="http://schemas.microsoft.com/office/drawing/2014/main" id="{970B1BF7-0528-7E66-2EF7-8A0CF5E968F2}"/>
              </a:ext>
            </a:extLst>
          </p:cNvPr>
          <p:cNvSpPr>
            <a:spLocks/>
          </p:cNvSpPr>
          <p:nvPr/>
        </p:nvSpPr>
        <p:spPr>
          <a:xfrm flipV="1">
            <a:off x="2515843" y="2640038"/>
            <a:ext cx="577658" cy="1766604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68903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コントロールセンターの表示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321927" y="1744505"/>
            <a:ext cx="312322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一番右上から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6020195" y="1721111"/>
            <a:ext cx="347940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コントロールセンターが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されま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6A20D6A-D89D-5378-E57A-1656FB9E8A57}"/>
              </a:ext>
            </a:extLst>
          </p:cNvPr>
          <p:cNvSpPr txBox="1"/>
          <p:nvPr/>
        </p:nvSpPr>
        <p:spPr>
          <a:xfrm rot="5400000">
            <a:off x="2158341" y="3407569"/>
            <a:ext cx="1292662" cy="36933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上から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F047F29C-68B6-9058-D760-F26F2422D8B6}"/>
              </a:ext>
            </a:extLst>
          </p:cNvPr>
          <p:cNvSpPr txBox="1"/>
          <p:nvPr/>
        </p:nvSpPr>
        <p:spPr>
          <a:xfrm>
            <a:off x="3135882" y="2609781"/>
            <a:ext cx="2005477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中央や左上から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では開きません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800E4526-5759-24DB-A29C-B867188765B5}"/>
              </a:ext>
            </a:extLst>
          </p:cNvPr>
          <p:cNvCxnSpPr>
            <a:cxnSpLocks/>
          </p:cNvCxnSpPr>
          <p:nvPr/>
        </p:nvCxnSpPr>
        <p:spPr>
          <a:xfrm>
            <a:off x="3897716" y="4022666"/>
            <a:ext cx="10440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47EF0FCF-F371-CBB6-54B1-E823648BED31}"/>
              </a:ext>
            </a:extLst>
          </p:cNvPr>
          <p:cNvCxnSpPr>
            <a:cxnSpLocks/>
          </p:cNvCxnSpPr>
          <p:nvPr/>
        </p:nvCxnSpPr>
        <p:spPr>
          <a:xfrm flipH="1">
            <a:off x="3897716" y="5224785"/>
            <a:ext cx="10440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573AB3C-9168-F5FE-4A85-B404BA6A5025}"/>
              </a:ext>
            </a:extLst>
          </p:cNvPr>
          <p:cNvSpPr txBox="1"/>
          <p:nvPr/>
        </p:nvSpPr>
        <p:spPr>
          <a:xfrm>
            <a:off x="34611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ライド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するとホーム画面に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C3CC3ED2-9FF2-119D-855F-E8A2023264D3}"/>
              </a:ext>
            </a:extLst>
          </p:cNvPr>
          <p:cNvSpPr txBox="1"/>
          <p:nvPr/>
        </p:nvSpPr>
        <p:spPr>
          <a:xfrm>
            <a:off x="380101" y="1247252"/>
            <a:ext cx="3929431" cy="496793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  <a:endParaRPr lang="en-US" altLang="ja-JP" sz="24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D6339C81-ACE3-E7E5-FE98-964AA62A2C97}"/>
              </a:ext>
            </a:extLst>
          </p:cNvPr>
          <p:cNvSpPr txBox="1"/>
          <p:nvPr/>
        </p:nvSpPr>
        <p:spPr>
          <a:xfrm>
            <a:off x="740650" y="169651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BA76605B-EE2C-825E-FE41-FEE6599E20A9}"/>
              </a:ext>
            </a:extLst>
          </p:cNvPr>
          <p:cNvSpPr txBox="1"/>
          <p:nvPr/>
        </p:nvSpPr>
        <p:spPr>
          <a:xfrm>
            <a:off x="5516197" y="1692475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7AC4FFA7-5B06-89CD-732A-14C6B605C07A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1" name="上矢印 41">
            <a:extLst>
              <a:ext uri="{FF2B5EF4-FFF2-40B4-BE49-F238E27FC236}">
                <a16:creationId xmlns:a16="http://schemas.microsoft.com/office/drawing/2014/main" id="{0A48FD84-BD90-82E4-645A-822008AF5E53}"/>
              </a:ext>
            </a:extLst>
          </p:cNvPr>
          <p:cNvSpPr>
            <a:spLocks/>
          </p:cNvSpPr>
          <p:nvPr/>
        </p:nvSpPr>
        <p:spPr>
          <a:xfrm rot="10800000" flipV="1">
            <a:off x="6732243" y="5395938"/>
            <a:ext cx="577658" cy="1055662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B74661D-B080-C453-FD90-7D93B7F65CE2}"/>
              </a:ext>
            </a:extLst>
          </p:cNvPr>
          <p:cNvSpPr txBox="1">
            <a:spLocks/>
          </p:cNvSpPr>
          <p:nvPr/>
        </p:nvSpPr>
        <p:spPr>
          <a:xfrm>
            <a:off x="8608291" y="6485118"/>
            <a:ext cx="535709" cy="372881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985343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>
            <a:extLst>
              <a:ext uri="{FF2B5EF4-FFF2-40B4-BE49-F238E27FC236}">
                <a16:creationId xmlns:a16="http://schemas.microsoft.com/office/drawing/2014/main" id="{378A6805-8C23-EA4D-B55F-339858C0E55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44DEBD83-8355-885D-0C93-9D38C3574043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93914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マナーモードに設定する方法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7BAE168-6800-946D-DE14-12E0EB3786DD}"/>
              </a:ext>
            </a:extLst>
          </p:cNvPr>
          <p:cNvSpPr txBox="1"/>
          <p:nvPr/>
        </p:nvSpPr>
        <p:spPr>
          <a:xfrm>
            <a:off x="6499875" y="2385109"/>
            <a:ext cx="153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ナーモード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ボタン</a:t>
            </a:r>
          </a:p>
        </p:txBody>
      </p:sp>
      <p:grpSp>
        <p:nvGrpSpPr>
          <p:cNvPr id="5" name="グループ化 4" descr="スマートフォン左側面に上から順番にマナーモードボタン、音量を上げるボタン、音量下げるボタンが3つ付いている画像">
            <a:extLst>
              <a:ext uri="{FF2B5EF4-FFF2-40B4-BE49-F238E27FC236}">
                <a16:creationId xmlns:a16="http://schemas.microsoft.com/office/drawing/2014/main" id="{BBE26D60-0495-7B9F-2E80-D0BE10CA4BED}"/>
              </a:ext>
            </a:extLst>
          </p:cNvPr>
          <p:cNvGrpSpPr/>
          <p:nvPr/>
        </p:nvGrpSpPr>
        <p:grpSpPr>
          <a:xfrm>
            <a:off x="459284" y="1913725"/>
            <a:ext cx="617886" cy="2027963"/>
            <a:chOff x="1888903" y="2161164"/>
            <a:chExt cx="617886" cy="2027963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D1CD1E98-1848-972C-1336-76D73933B6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1" r="-20695" b="48789"/>
            <a:stretch/>
          </p:blipFill>
          <p:spPr>
            <a:xfrm>
              <a:off x="1888903" y="2161164"/>
              <a:ext cx="617886" cy="2027963"/>
            </a:xfrm>
            <a:prstGeom prst="rect">
              <a:avLst/>
            </a:prstGeom>
            <a:ln w="19050">
              <a:noFill/>
              <a:prstDash val="sysDash"/>
            </a:ln>
          </p:spPr>
        </p:pic>
        <p:sp>
          <p:nvSpPr>
            <p:cNvPr id="13" name="四角形: 角を丸くする 15">
              <a:extLst>
                <a:ext uri="{FF2B5EF4-FFF2-40B4-BE49-F238E27FC236}">
                  <a16:creationId xmlns:a16="http://schemas.microsoft.com/office/drawing/2014/main" id="{C4024217-AE3D-03DB-CB23-00C4A0BDA5E5}"/>
                </a:ext>
              </a:extLst>
            </p:cNvPr>
            <p:cNvSpPr/>
            <p:nvPr/>
          </p:nvSpPr>
          <p:spPr>
            <a:xfrm>
              <a:off x="1953409" y="2510835"/>
              <a:ext cx="381000" cy="685800"/>
            </a:xfrm>
            <a:prstGeom prst="roundRect">
              <a:avLst/>
            </a:prstGeom>
            <a:noFill/>
            <a:ln w="19050">
              <a:solidFill>
                <a:srgbClr val="FF3300"/>
              </a:solidFill>
              <a:prstDash val="sysDash"/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b="1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25" name="図 24" descr="ホーム画面の画像">
            <a:extLst>
              <a:ext uri="{FF2B5EF4-FFF2-40B4-BE49-F238E27FC236}">
                <a16:creationId xmlns:a16="http://schemas.microsoft.com/office/drawing/2014/main" id="{A934BA88-8AE3-6092-F4CD-5DDFFE6FC63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9875" y="3030604"/>
            <a:ext cx="1719800" cy="3248913"/>
          </a:xfrm>
          <a:prstGeom prst="rect">
            <a:avLst/>
          </a:prstGeom>
        </p:spPr>
      </p:pic>
      <p:sp>
        <p:nvSpPr>
          <p:cNvPr id="26" name="四角形: 角を丸くする 15">
            <a:extLst>
              <a:ext uri="{FF2B5EF4-FFF2-40B4-BE49-F238E27FC236}">
                <a16:creationId xmlns:a16="http://schemas.microsoft.com/office/drawing/2014/main" id="{A2CF29B9-1140-78AB-E543-650503577972}"/>
              </a:ext>
            </a:extLst>
          </p:cNvPr>
          <p:cNvSpPr/>
          <p:nvPr/>
        </p:nvSpPr>
        <p:spPr>
          <a:xfrm>
            <a:off x="6502466" y="3481234"/>
            <a:ext cx="166717" cy="331805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9D3223C7-6232-B10D-84C2-D6E24D2FB0BE}"/>
              </a:ext>
            </a:extLst>
          </p:cNvPr>
          <p:cNvCxnSpPr>
            <a:cxnSpLocks/>
            <a:stCxn id="36" idx="3"/>
            <a:endCxn id="26" idx="1"/>
          </p:cNvCxnSpPr>
          <p:nvPr/>
        </p:nvCxnSpPr>
        <p:spPr>
          <a:xfrm flipV="1">
            <a:off x="5414939" y="3647137"/>
            <a:ext cx="1087527" cy="1654071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図 27">
            <a:extLst>
              <a:ext uri="{FF2B5EF4-FFF2-40B4-BE49-F238E27FC236}">
                <a16:creationId xmlns:a16="http://schemas.microsoft.com/office/drawing/2014/main" id="{FD33739A-B089-8B1D-2D1C-0DFD72F70A7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" r="-20695" b="48789"/>
          <a:stretch/>
        </p:blipFill>
        <p:spPr>
          <a:xfrm>
            <a:off x="459284" y="4352179"/>
            <a:ext cx="617886" cy="2027963"/>
          </a:xfrm>
          <a:prstGeom prst="rect">
            <a:avLst/>
          </a:prstGeom>
        </p:spPr>
      </p:pic>
      <p:pic>
        <p:nvPicPr>
          <p:cNvPr id="30" name="図 29" descr="マナーモードボタンを左に倒している画像">
            <a:extLst>
              <a:ext uri="{FF2B5EF4-FFF2-40B4-BE49-F238E27FC236}">
                <a16:creationId xmlns:a16="http://schemas.microsoft.com/office/drawing/2014/main" id="{E2552622-F3AE-F0B1-0B6B-8F5D26EB0E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800000">
            <a:off x="533641" y="4542457"/>
            <a:ext cx="351684" cy="870418"/>
          </a:xfrm>
          <a:prstGeom prst="rect">
            <a:avLst/>
          </a:prstGeom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E7A4B37D-A2FC-FB10-2822-5AC77AEBE6D3}"/>
              </a:ext>
            </a:extLst>
          </p:cNvPr>
          <p:cNvGrpSpPr/>
          <p:nvPr/>
        </p:nvGrpSpPr>
        <p:grpSpPr>
          <a:xfrm>
            <a:off x="2702780" y="1999171"/>
            <a:ext cx="2712159" cy="1468480"/>
            <a:chOff x="-4200261" y="193670"/>
            <a:chExt cx="3855697" cy="2016893"/>
          </a:xfrm>
        </p:grpSpPr>
        <p:pic>
          <p:nvPicPr>
            <p:cNvPr id="33" name="図 32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89A505E-1840-E4E8-F274-0FA147EC96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70591"/>
            <a:stretch/>
          </p:blipFill>
          <p:spPr>
            <a:xfrm>
              <a:off x="-4200261" y="193670"/>
              <a:ext cx="3855697" cy="2016893"/>
            </a:xfrm>
            <a:prstGeom prst="rect">
              <a:avLst/>
            </a:prstGeom>
          </p:spPr>
        </p:pic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7532A806-BCBD-4CF9-DDA2-358D8AF80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-3924943" y="237122"/>
              <a:ext cx="360039" cy="219106"/>
            </a:xfrm>
            <a:prstGeom prst="rect">
              <a:avLst/>
            </a:prstGeom>
          </p:spPr>
        </p:pic>
      </p:grp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8B61EC16-303F-013F-9938-451F6EBEFEFB}"/>
              </a:ext>
            </a:extLst>
          </p:cNvPr>
          <p:cNvGrpSpPr/>
          <p:nvPr/>
        </p:nvGrpSpPr>
        <p:grpSpPr>
          <a:xfrm>
            <a:off x="2702780" y="4579489"/>
            <a:ext cx="2712159" cy="1443438"/>
            <a:chOff x="-6028284" y="-143793"/>
            <a:chExt cx="3855697" cy="2027963"/>
          </a:xfrm>
        </p:grpSpPr>
        <p:pic>
          <p:nvPicPr>
            <p:cNvPr id="36" name="図 3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D2C76E10-25E2-9616-1BEC-F5CEAF42F9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b="70429"/>
            <a:stretch/>
          </p:blipFill>
          <p:spPr>
            <a:xfrm>
              <a:off x="-6028284" y="-143793"/>
              <a:ext cx="3855697" cy="2027963"/>
            </a:xfrm>
            <a:prstGeom prst="rect">
              <a:avLst/>
            </a:prstGeom>
          </p:spPr>
        </p:pic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3C25BA4E-5840-F7D8-9922-6F26C9D6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-5797152" y="-116066"/>
              <a:ext cx="432048" cy="219106"/>
            </a:xfrm>
            <a:prstGeom prst="rect">
              <a:avLst/>
            </a:prstGeom>
          </p:spPr>
        </p:pic>
      </p:grp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9D0AD759-B102-4B6A-2DDD-03B5D0EE6904}"/>
              </a:ext>
            </a:extLst>
          </p:cNvPr>
          <p:cNvSpPr txBox="1"/>
          <p:nvPr/>
        </p:nvSpPr>
        <p:spPr>
          <a:xfrm>
            <a:off x="1005738" y="2344686"/>
            <a:ext cx="1569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フ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0728E17B-80A0-DC45-6557-B04ED2C6A681}"/>
              </a:ext>
            </a:extLst>
          </p:cNvPr>
          <p:cNvSpPr txBox="1"/>
          <p:nvPr/>
        </p:nvSpPr>
        <p:spPr>
          <a:xfrm>
            <a:off x="1005738" y="4696698"/>
            <a:ext cx="1569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3" name="四角形: 角を丸くする 15">
            <a:extLst>
              <a:ext uri="{FF2B5EF4-FFF2-40B4-BE49-F238E27FC236}">
                <a16:creationId xmlns:a16="http://schemas.microsoft.com/office/drawing/2014/main" id="{D7F16946-D6FA-4EE1-A7AA-41079E4C627F}"/>
              </a:ext>
            </a:extLst>
          </p:cNvPr>
          <p:cNvSpPr/>
          <p:nvPr/>
        </p:nvSpPr>
        <p:spPr>
          <a:xfrm>
            <a:off x="505913" y="4615408"/>
            <a:ext cx="381000" cy="6858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4" name="直線コネクタ 43">
            <a:extLst>
              <a:ext uri="{FF2B5EF4-FFF2-40B4-BE49-F238E27FC236}">
                <a16:creationId xmlns:a16="http://schemas.microsoft.com/office/drawing/2014/main" id="{CAE78DF2-7FDB-B0A3-07F2-3DBFCDE94542}"/>
              </a:ext>
            </a:extLst>
          </p:cNvPr>
          <p:cNvCxnSpPr>
            <a:cxnSpLocks/>
            <a:stCxn id="33" idx="3"/>
            <a:endCxn id="26" idx="1"/>
          </p:cNvCxnSpPr>
          <p:nvPr/>
        </p:nvCxnSpPr>
        <p:spPr>
          <a:xfrm>
            <a:off x="5414939" y="2733411"/>
            <a:ext cx="1087527" cy="913726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5EEB4F1-99D8-6EBE-8F95-E929BEECECB3}"/>
              </a:ext>
            </a:extLst>
          </p:cNvPr>
          <p:cNvSpPr txBox="1"/>
          <p:nvPr/>
        </p:nvSpPr>
        <p:spPr>
          <a:xfrm>
            <a:off x="2567172" y="6022927"/>
            <a:ext cx="298337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をオフにした時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C31FCF6-B165-FA2C-BFAA-60B27E117C9A}"/>
              </a:ext>
            </a:extLst>
          </p:cNvPr>
          <p:cNvSpPr txBox="1">
            <a:spLocks/>
          </p:cNvSpPr>
          <p:nvPr/>
        </p:nvSpPr>
        <p:spPr>
          <a:xfrm>
            <a:off x="8608291" y="6485118"/>
            <a:ext cx="535709" cy="372881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5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D06F6DDB-6CB3-DE5E-A261-19704A7CBBC2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ボタンを押すとマナーモードになり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7E65525-46C5-3176-EFAD-DB0BE495F9FB}"/>
              </a:ext>
            </a:extLst>
          </p:cNvPr>
          <p:cNvSpPr txBox="1"/>
          <p:nvPr/>
        </p:nvSpPr>
        <p:spPr>
          <a:xfrm>
            <a:off x="2573839" y="3470227"/>
            <a:ext cx="297639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をオンにした時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30128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449840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の入れ方</a:t>
            </a:r>
          </a:p>
        </p:txBody>
      </p:sp>
      <p:pic>
        <p:nvPicPr>
          <p:cNvPr id="4" name="図 3" descr="アイコン&#10;&#10;自動的に生成された説明">
            <a:extLst>
              <a:ext uri="{FF2B5EF4-FFF2-40B4-BE49-F238E27FC236}">
                <a16:creationId xmlns:a16="http://schemas.microsoft.com/office/drawing/2014/main" id="{CBF13EF3-5651-EC9B-01E8-46AB1DBC7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図 31" descr="電源ボタンがある側面の画像">
            <a:extLst>
              <a:ext uri="{FF2B5EF4-FFF2-40B4-BE49-F238E27FC236}">
                <a16:creationId xmlns:a16="http://schemas.microsoft.com/office/drawing/2014/main" id="{8203A318-2F1F-6973-0FCC-5C8D69855D11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603500" y="2919850"/>
            <a:ext cx="298672" cy="1027309"/>
          </a:xfrm>
          <a:prstGeom prst="rect">
            <a:avLst/>
          </a:prstGeom>
        </p:spPr>
      </p:pic>
      <p:grpSp>
        <p:nvGrpSpPr>
          <p:cNvPr id="26" name="グループ化 25" descr="電源が入っていないスマートフォンの画面の画像">
            <a:extLst>
              <a:ext uri="{FF2B5EF4-FFF2-40B4-BE49-F238E27FC236}">
                <a16:creationId xmlns:a16="http://schemas.microsoft.com/office/drawing/2014/main" id="{07406C3C-1D6B-10D6-D91D-4199E520C51D}"/>
              </a:ext>
            </a:extLst>
          </p:cNvPr>
          <p:cNvGrpSpPr/>
          <p:nvPr/>
        </p:nvGrpSpPr>
        <p:grpSpPr>
          <a:xfrm>
            <a:off x="1169439" y="2261525"/>
            <a:ext cx="2189838" cy="4509706"/>
            <a:chOff x="503235" y="3089352"/>
            <a:chExt cx="1703013" cy="3060000"/>
          </a:xfrm>
        </p:grpSpPr>
        <p:pic>
          <p:nvPicPr>
            <p:cNvPr id="29" name="図 28">
              <a:extLst>
                <a:ext uri="{FF2B5EF4-FFF2-40B4-BE49-F238E27FC236}">
                  <a16:creationId xmlns:a16="http://schemas.microsoft.com/office/drawing/2014/main" id="{37C08FD9-5FB8-4AC1-8699-5E3B9FAB8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3235" y="3089352"/>
              <a:ext cx="1703013" cy="3060000"/>
            </a:xfrm>
            <a:prstGeom prst="rect">
              <a:avLst/>
            </a:prstGeom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8A31BDF6-4FAF-1377-AF01-0FDA4C2F9B48}"/>
                </a:ext>
              </a:extLst>
            </p:cNvPr>
            <p:cNvSpPr/>
            <p:nvPr/>
          </p:nvSpPr>
          <p:spPr>
            <a:xfrm>
              <a:off x="610207" y="3435418"/>
              <a:ext cx="1461337" cy="235685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391516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393221"/>
            <a:ext cx="3265681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リンゴのマークが表示され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D329F688-6431-E3DD-DC80-E7096801EB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7601" y="2261524"/>
            <a:ext cx="2195166" cy="4509707"/>
          </a:xfrm>
          <a:prstGeom prst="rect">
            <a:avLst/>
          </a:prstGeom>
        </p:spPr>
      </p:pic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3D9F62F-D480-52CF-587C-17020DC95384}"/>
              </a:ext>
            </a:extLst>
          </p:cNvPr>
          <p:cNvSpPr/>
          <p:nvPr/>
        </p:nvSpPr>
        <p:spPr>
          <a:xfrm>
            <a:off x="5908281" y="2771543"/>
            <a:ext cx="1883648" cy="346229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5" name="図 34">
            <a:extLst>
              <a:ext uri="{FF2B5EF4-FFF2-40B4-BE49-F238E27FC236}">
                <a16:creationId xmlns:a16="http://schemas.microsoft.com/office/drawing/2014/main" id="{A6B63E4E-9E62-08DA-8EFC-7525DC1556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2102" y="4081540"/>
            <a:ext cx="756007" cy="842297"/>
          </a:xfrm>
          <a:prstGeom prst="rect">
            <a:avLst/>
          </a:prstGeom>
        </p:spPr>
      </p:pic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836A83DD-F948-74CF-FC4C-406BE8D0A59D}"/>
              </a:ext>
            </a:extLst>
          </p:cNvPr>
          <p:cNvSpPr/>
          <p:nvPr/>
        </p:nvSpPr>
        <p:spPr>
          <a:xfrm>
            <a:off x="3272153" y="3166919"/>
            <a:ext cx="189095" cy="63673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AABD3270-6BB0-F438-8AA2-BC7399893040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3366701" y="2933700"/>
            <a:ext cx="250259" cy="23321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FD9CD5DB-D782-376B-5458-8A43288BE682}"/>
              </a:ext>
            </a:extLst>
          </p:cNvPr>
          <p:cNvCxnSpPr>
            <a:cxnSpLocks/>
          </p:cNvCxnSpPr>
          <p:nvPr/>
        </p:nvCxnSpPr>
        <p:spPr>
          <a:xfrm>
            <a:off x="3417254" y="38251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070F731-C1BA-5B6D-D2F7-E75846B1F728}"/>
              </a:ext>
            </a:extLst>
          </p:cNvPr>
          <p:cNvSpPr txBox="1"/>
          <p:nvPr/>
        </p:nvSpPr>
        <p:spPr>
          <a:xfrm>
            <a:off x="3946351" y="331647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27D65E6-EDA3-B531-684C-576FC295DEEB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8536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C9D0D5CF-779B-BD37-05E7-7DC8207BC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1192" y="2279830"/>
            <a:ext cx="2183702" cy="4491401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EE14A28F-089E-B83E-F90E-0AA04060D291}"/>
              </a:ext>
            </a:extLst>
          </p:cNvPr>
          <p:cNvGrpSpPr/>
          <p:nvPr/>
        </p:nvGrpSpPr>
        <p:grpSpPr>
          <a:xfrm>
            <a:off x="1169439" y="2261525"/>
            <a:ext cx="2189838" cy="4509706"/>
            <a:chOff x="1532396" y="2979273"/>
            <a:chExt cx="1591424" cy="3165050"/>
          </a:xfrm>
        </p:grpSpPr>
        <p:grpSp>
          <p:nvGrpSpPr>
            <p:cNvPr id="3" name="グループ化 2" descr="電源が入っていないスマートフォンの画面の画像">
              <a:extLst>
                <a:ext uri="{FF2B5EF4-FFF2-40B4-BE49-F238E27FC236}">
                  <a16:creationId xmlns:a16="http://schemas.microsoft.com/office/drawing/2014/main" id="{BE03F7E4-8AFA-933A-BEB1-4ED6456DD1AF}"/>
                </a:ext>
              </a:extLst>
            </p:cNvPr>
            <p:cNvGrpSpPr/>
            <p:nvPr/>
          </p:nvGrpSpPr>
          <p:grpSpPr>
            <a:xfrm>
              <a:off x="1532396" y="2979273"/>
              <a:ext cx="1591424" cy="3165050"/>
              <a:chOff x="503235" y="3089352"/>
              <a:chExt cx="1703013" cy="3060000"/>
            </a:xfrm>
          </p:grpSpPr>
          <p:pic>
            <p:nvPicPr>
              <p:cNvPr id="4" name="図 3">
                <a:extLst>
                  <a:ext uri="{FF2B5EF4-FFF2-40B4-BE49-F238E27FC236}">
                    <a16:creationId xmlns:a16="http://schemas.microsoft.com/office/drawing/2014/main" id="{823F0EAF-7C53-543A-BF9A-0508518924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3235" y="3089352"/>
                <a:ext cx="1703013" cy="3060000"/>
              </a:xfrm>
              <a:prstGeom prst="rect">
                <a:avLst/>
              </a:prstGeom>
            </p:spPr>
          </p:pic>
          <p:sp>
            <p:nvSpPr>
              <p:cNvPr id="5" name="正方形/長方形 4">
                <a:extLst>
                  <a:ext uri="{FF2B5EF4-FFF2-40B4-BE49-F238E27FC236}">
                    <a16:creationId xmlns:a16="http://schemas.microsoft.com/office/drawing/2014/main" id="{1C15C1D1-88E0-B3A9-B663-32CAF28BC074}"/>
                  </a:ext>
                </a:extLst>
              </p:cNvPr>
              <p:cNvSpPr/>
              <p:nvPr/>
            </p:nvSpPr>
            <p:spPr>
              <a:xfrm>
                <a:off x="610207" y="3419674"/>
                <a:ext cx="1461337" cy="2365035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10" name="図 9" descr="パソコンの画面&#10;&#10;中程度の精度で自動的に生成された説明">
              <a:extLst>
                <a:ext uri="{FF2B5EF4-FFF2-40B4-BE49-F238E27FC236}">
                  <a16:creationId xmlns:a16="http://schemas.microsoft.com/office/drawing/2014/main" id="{DBD0436A-1DAA-08B7-CC38-A1B4C1D00A7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/>
            <a:srcRect l="9432" t="7083" r="9272" b="8918"/>
            <a:stretch/>
          </p:blipFill>
          <p:spPr>
            <a:xfrm>
              <a:off x="1624891" y="3327338"/>
              <a:ext cx="1386603" cy="2431997"/>
            </a:xfrm>
            <a:prstGeom prst="rect">
              <a:avLst/>
            </a:prstGeom>
          </p:spPr>
        </p:pic>
      </p:grp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68584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148010" y="1391516"/>
            <a:ext cx="27656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パスコードを入力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215846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791192" y="1393221"/>
            <a:ext cx="285293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が表示さ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字幕 14">
            <a:extLst>
              <a:ext uri="{FF2B5EF4-FFF2-40B4-BE49-F238E27FC236}">
                <a16:creationId xmlns:a16="http://schemas.microsoft.com/office/drawing/2014/main" id="{F9D7059F-0E0E-CDA4-C3D7-99C2EDC7B2D9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D86D54-454E-1BDE-F3BC-B8D1AF8A8E8D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88856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>
            <a:extLst>
              <a:ext uri="{FF2B5EF4-FFF2-40B4-BE49-F238E27FC236}">
                <a16:creationId xmlns:a16="http://schemas.microsoft.com/office/drawing/2014/main" id="{FE638A82-8C71-614E-B31A-30A17513937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1253" t="22194" r="-23213" b="58183"/>
          <a:stretch/>
        </p:blipFill>
        <p:spPr>
          <a:xfrm>
            <a:off x="3523616" y="2919718"/>
            <a:ext cx="514349" cy="1027909"/>
          </a:xfrm>
          <a:prstGeom prst="rect">
            <a:avLst/>
          </a:prstGeom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A94DBE26-7DB2-B760-64FE-B48590CEB6E3}"/>
              </a:ext>
            </a:extLst>
          </p:cNvPr>
          <p:cNvGrpSpPr/>
          <p:nvPr/>
        </p:nvGrpSpPr>
        <p:grpSpPr>
          <a:xfrm>
            <a:off x="5742768" y="2220065"/>
            <a:ext cx="2408023" cy="4551161"/>
            <a:chOff x="3564088" y="2925719"/>
            <a:chExt cx="1800000" cy="3401998"/>
          </a:xfrm>
        </p:grpSpPr>
        <p:grpSp>
          <p:nvGrpSpPr>
            <p:cNvPr id="18" name="グループ化 14">
              <a:extLst>
                <a:ext uri="{FF2B5EF4-FFF2-40B4-BE49-F238E27FC236}">
                  <a16:creationId xmlns:a16="http://schemas.microsoft.com/office/drawing/2014/main" id="{3F536FBD-A1A8-5537-E322-92FC86732BDE}"/>
                </a:ext>
              </a:extLst>
            </p:cNvPr>
            <p:cNvGrpSpPr/>
            <p:nvPr/>
          </p:nvGrpSpPr>
          <p:grpSpPr>
            <a:xfrm>
              <a:off x="3564088" y="2925719"/>
              <a:ext cx="1800000" cy="3401998"/>
              <a:chOff x="1783857" y="2736298"/>
              <a:chExt cx="2310757" cy="4299524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D7597612-D685-68FB-D878-ABB1E04045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83857" y="2736298"/>
                <a:ext cx="2310757" cy="4299524"/>
              </a:xfrm>
              <a:prstGeom prst="rect">
                <a:avLst/>
              </a:prstGeom>
            </p:spPr>
          </p:pic>
          <p:sp>
            <p:nvSpPr>
              <p:cNvPr id="24" name="四角形: 角を丸くする 10">
                <a:extLst>
                  <a:ext uri="{FF2B5EF4-FFF2-40B4-BE49-F238E27FC236}">
                    <a16:creationId xmlns:a16="http://schemas.microsoft.com/office/drawing/2014/main" id="{521A699C-27B0-A820-43B7-C24CF839E1CE}"/>
                  </a:ext>
                </a:extLst>
              </p:cNvPr>
              <p:cNvSpPr/>
              <p:nvPr/>
            </p:nvSpPr>
            <p:spPr>
              <a:xfrm>
                <a:off x="2012472" y="2870158"/>
                <a:ext cx="1768585" cy="3910459"/>
              </a:xfrm>
              <a:prstGeom prst="roundRect">
                <a:avLst>
                  <a:gd name="adj" fmla="val 8943"/>
                </a:avLst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21" name="図 20">
              <a:extLst>
                <a:ext uri="{FF2B5EF4-FFF2-40B4-BE49-F238E27FC236}">
                  <a16:creationId xmlns:a16="http://schemas.microsoft.com/office/drawing/2014/main" id="{F1F8FD19-F432-6329-E79F-6551C03C5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95289" y="4100004"/>
              <a:ext cx="520727" cy="571529"/>
            </a:xfrm>
            <a:prstGeom prst="rect">
              <a:avLst/>
            </a:prstGeom>
          </p:spPr>
        </p:pic>
      </p:grpSp>
      <p:grpSp>
        <p:nvGrpSpPr>
          <p:cNvPr id="8" name="グループ化 14">
            <a:extLst>
              <a:ext uri="{FF2B5EF4-FFF2-40B4-BE49-F238E27FC236}">
                <a16:creationId xmlns:a16="http://schemas.microsoft.com/office/drawing/2014/main" id="{43436D09-4A03-854C-0936-6597121FF7BD}"/>
              </a:ext>
            </a:extLst>
          </p:cNvPr>
          <p:cNvGrpSpPr/>
          <p:nvPr/>
        </p:nvGrpSpPr>
        <p:grpSpPr>
          <a:xfrm>
            <a:off x="1129416" y="2220066"/>
            <a:ext cx="2408024" cy="4551163"/>
            <a:chOff x="1783857" y="2736298"/>
            <a:chExt cx="2310757" cy="4299524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F40FD5A-33AB-F1F8-2578-E3103D1535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3857" y="2736298"/>
              <a:ext cx="2310757" cy="4299524"/>
            </a:xfrm>
            <a:prstGeom prst="rect">
              <a:avLst/>
            </a:prstGeom>
          </p:spPr>
        </p:pic>
        <p:sp>
          <p:nvSpPr>
            <p:cNvPr id="14" name="四角形: 角を丸くする 10">
              <a:extLst>
                <a:ext uri="{FF2B5EF4-FFF2-40B4-BE49-F238E27FC236}">
                  <a16:creationId xmlns:a16="http://schemas.microsoft.com/office/drawing/2014/main" id="{08F90E42-9D88-A95B-694C-BFAB7AC885AB}"/>
                </a:ext>
              </a:extLst>
            </p:cNvPr>
            <p:cNvSpPr/>
            <p:nvPr/>
          </p:nvSpPr>
          <p:spPr>
            <a:xfrm>
              <a:off x="2012472" y="2870158"/>
              <a:ext cx="1768585" cy="3910459"/>
            </a:xfrm>
            <a:prstGeom prst="roundRect">
              <a:avLst>
                <a:gd name="adj" fmla="val 8943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641736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221162" y="1391516"/>
            <a:ext cx="2985078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203654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779000" y="1393221"/>
            <a:ext cx="3273560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リンゴのマークが表示され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4015F9F-A9B6-D60C-5D2C-F49648872D2E}"/>
              </a:ext>
            </a:extLst>
          </p:cNvPr>
          <p:cNvSpPr txBox="1"/>
          <p:nvPr/>
        </p:nvSpPr>
        <p:spPr>
          <a:xfrm>
            <a:off x="3994277" y="3255301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5D74AF24-FFE5-4F7C-9C31-89114AC40C63}"/>
              </a:ext>
            </a:extLst>
          </p:cNvPr>
          <p:cNvSpPr/>
          <p:nvPr/>
        </p:nvSpPr>
        <p:spPr>
          <a:xfrm>
            <a:off x="3272153" y="3166919"/>
            <a:ext cx="189095" cy="63673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4A6A4034-2153-2880-ADEB-5324B3EF487B}"/>
              </a:ext>
            </a:extLst>
          </p:cNvPr>
          <p:cNvCxnSpPr>
            <a:cxnSpLocks/>
            <a:endCxn id="5" idx="0"/>
          </p:cNvCxnSpPr>
          <p:nvPr/>
        </p:nvCxnSpPr>
        <p:spPr>
          <a:xfrm flipH="1">
            <a:off x="3366701" y="2933700"/>
            <a:ext cx="250259" cy="23321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738B86B4-E682-B80D-C789-6B85E1371609}"/>
              </a:ext>
            </a:extLst>
          </p:cNvPr>
          <p:cNvCxnSpPr>
            <a:cxnSpLocks/>
          </p:cNvCxnSpPr>
          <p:nvPr/>
        </p:nvCxnSpPr>
        <p:spPr>
          <a:xfrm>
            <a:off x="3417254" y="38251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字幕 14">
            <a:extLst>
              <a:ext uri="{FF2B5EF4-FFF2-40B4-BE49-F238E27FC236}">
                <a16:creationId xmlns:a16="http://schemas.microsoft.com/office/drawing/2014/main" id="{FA7F8440-1ACA-19CB-449E-BA3FBA880685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A267A-AD20-4136-7148-22BD2C49793E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90201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>
            <a:extLst>
              <a:ext uri="{FF2B5EF4-FFF2-40B4-BE49-F238E27FC236}">
                <a16:creationId xmlns:a16="http://schemas.microsoft.com/office/drawing/2014/main" id="{017D4A3B-1779-6097-A929-472452D589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491" y="2254906"/>
            <a:ext cx="2392732" cy="4516317"/>
          </a:xfrm>
          <a:prstGeom prst="rect">
            <a:avLst/>
          </a:prstGeom>
        </p:spPr>
      </p:pic>
      <p:sp>
        <p:nvSpPr>
          <p:cNvPr id="10" name="上矢印 41">
            <a:extLst>
              <a:ext uri="{FF2B5EF4-FFF2-40B4-BE49-F238E27FC236}">
                <a16:creationId xmlns:a16="http://schemas.microsoft.com/office/drawing/2014/main" id="{38F3E5EF-FD6E-FBED-6588-70FBA70588CC}"/>
              </a:ext>
            </a:extLst>
          </p:cNvPr>
          <p:cNvSpPr>
            <a:spLocks/>
          </p:cNvSpPr>
          <p:nvPr/>
        </p:nvSpPr>
        <p:spPr>
          <a:xfrm>
            <a:off x="1958404" y="4262007"/>
            <a:ext cx="822591" cy="2046920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3F74C1D8-6282-F78B-4FBA-57D750FE2ABA}"/>
              </a:ext>
            </a:extLst>
          </p:cNvPr>
          <p:cNvSpPr>
            <a:spLocks/>
          </p:cNvSpPr>
          <p:nvPr/>
        </p:nvSpPr>
        <p:spPr>
          <a:xfrm>
            <a:off x="1907856" y="6308928"/>
            <a:ext cx="937274" cy="41354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688605" y="1346559"/>
            <a:ext cx="56165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1250254" y="1346559"/>
            <a:ext cx="374424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番下に表示されている線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ライドします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字幕 14">
            <a:extLst>
              <a:ext uri="{FF2B5EF4-FFF2-40B4-BE49-F238E27FC236}">
                <a16:creationId xmlns:a16="http://schemas.microsoft.com/office/drawing/2014/main" id="{47FA2638-00BE-EAB5-F15D-743EFE402C93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52BD839D-4B30-7AA5-525C-07FE3D53C0DD}"/>
              </a:ext>
            </a:extLst>
          </p:cNvPr>
          <p:cNvGrpSpPr/>
          <p:nvPr/>
        </p:nvGrpSpPr>
        <p:grpSpPr>
          <a:xfrm>
            <a:off x="5474572" y="2268328"/>
            <a:ext cx="2547528" cy="4551160"/>
            <a:chOff x="1488008" y="2592967"/>
            <a:chExt cx="2016224" cy="3601985"/>
          </a:xfrm>
        </p:grpSpPr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56A3EC2D-6A01-8870-E67B-61C4C8421C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8008" y="2592967"/>
              <a:ext cx="2016224" cy="3601985"/>
            </a:xfrm>
            <a:prstGeom prst="rect">
              <a:avLst/>
            </a:prstGeom>
          </p:spPr>
        </p:pic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97BBD879-02BE-491A-EA61-DB7AFBAA5A58}"/>
                </a:ext>
              </a:extLst>
            </p:cNvPr>
            <p:cNvGrpSpPr/>
            <p:nvPr/>
          </p:nvGrpSpPr>
          <p:grpSpPr>
            <a:xfrm>
              <a:off x="1669075" y="2717499"/>
              <a:ext cx="1592447" cy="3311825"/>
              <a:chOff x="2874549" y="3207482"/>
              <a:chExt cx="1592447" cy="3311825"/>
            </a:xfrm>
          </p:grpSpPr>
          <p:sp>
            <p:nvSpPr>
              <p:cNvPr id="18" name="四角形: 角を丸くする 17">
                <a:extLst>
                  <a:ext uri="{FF2B5EF4-FFF2-40B4-BE49-F238E27FC236}">
                    <a16:creationId xmlns:a16="http://schemas.microsoft.com/office/drawing/2014/main" id="{98B27583-B933-5596-C77D-3E4C921068DC}"/>
                  </a:ext>
                </a:extLst>
              </p:cNvPr>
              <p:cNvSpPr/>
              <p:nvPr/>
            </p:nvSpPr>
            <p:spPr>
              <a:xfrm>
                <a:off x="2874549" y="3207482"/>
                <a:ext cx="1592447" cy="3311825"/>
              </a:xfrm>
              <a:prstGeom prst="roundRect">
                <a:avLst>
                  <a:gd name="adj" fmla="val 13441"/>
                </a:avLst>
              </a:prstGeom>
              <a:gradFill>
                <a:gsLst>
                  <a:gs pos="0">
                    <a:srgbClr val="425462"/>
                  </a:gs>
                  <a:gs pos="100000">
                    <a:srgbClr val="061A3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21" name="図 20" descr="パソコンの画面&#10;&#10;中程度の精度で自動的に生成された説明">
                <a:extLst>
                  <a:ext uri="{FF2B5EF4-FFF2-40B4-BE49-F238E27FC236}">
                    <a16:creationId xmlns:a16="http://schemas.microsoft.com/office/drawing/2014/main" id="{519315B1-3209-13A0-C787-5C3017A0A0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9432" t="7083" r="9272" b="8918"/>
              <a:stretch/>
            </p:blipFill>
            <p:spPr>
              <a:xfrm>
                <a:off x="2876514" y="3506895"/>
                <a:ext cx="1588516" cy="2712998"/>
              </a:xfrm>
              <a:prstGeom prst="rect">
                <a:avLst/>
              </a:prstGeom>
            </p:spPr>
          </p:pic>
        </p:grpSp>
      </p:grp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C1B14318-F317-B4E6-0BDF-154231768C04}"/>
              </a:ext>
            </a:extLst>
          </p:cNvPr>
          <p:cNvSpPr txBox="1"/>
          <p:nvPr/>
        </p:nvSpPr>
        <p:spPr>
          <a:xfrm>
            <a:off x="5015760" y="1391516"/>
            <a:ext cx="916259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9FAA2A31-E9DB-72EC-EFA0-D078D898F8D7}"/>
              </a:ext>
            </a:extLst>
          </p:cNvPr>
          <p:cNvSpPr txBox="1"/>
          <p:nvPr/>
        </p:nvSpPr>
        <p:spPr>
          <a:xfrm>
            <a:off x="5595187" y="1391516"/>
            <a:ext cx="2692470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パスコードを入力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3C42369A-1A14-5C09-0C86-ECAA2ABCE8D0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99519D8-3E67-7D0F-1704-BCF70FD97538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06437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 descr="ホーム画面の画像">
            <a:extLst>
              <a:ext uri="{FF2B5EF4-FFF2-40B4-BE49-F238E27FC236}">
                <a16:creationId xmlns:a16="http://schemas.microsoft.com/office/drawing/2014/main" id="{48965E06-3034-60F4-1488-FD06815971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906" y="2229922"/>
            <a:ext cx="2547528" cy="4533004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2888915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3464261" y="1393221"/>
            <a:ext cx="297485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が表示さ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字幕 14">
            <a:extLst>
              <a:ext uri="{FF2B5EF4-FFF2-40B4-BE49-F238E27FC236}">
                <a16:creationId xmlns:a16="http://schemas.microsoft.com/office/drawing/2014/main" id="{69FFBBA0-8402-E9ED-E914-C9E2EB1D74B9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BC7A8C7-9252-F5BA-8338-B3B89A82205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282494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387ABC2F-B046-E1D1-2351-C5CD517BA6B1}"/>
              </a:ext>
            </a:extLst>
          </p:cNvPr>
          <p:cNvGrpSpPr/>
          <p:nvPr/>
        </p:nvGrpSpPr>
        <p:grpSpPr>
          <a:xfrm>
            <a:off x="5791129" y="2261524"/>
            <a:ext cx="2335439" cy="4519666"/>
            <a:chOff x="5954544" y="2709313"/>
            <a:chExt cx="1785808" cy="3455991"/>
          </a:xfrm>
        </p:grpSpPr>
        <p:grpSp>
          <p:nvGrpSpPr>
            <p:cNvPr id="33" name="グループ化 32">
              <a:extLst>
                <a:ext uri="{FF2B5EF4-FFF2-40B4-BE49-F238E27FC236}">
                  <a16:creationId xmlns:a16="http://schemas.microsoft.com/office/drawing/2014/main" id="{88886AD2-22CA-CC71-10DA-A409C34A0529}"/>
                </a:ext>
              </a:extLst>
            </p:cNvPr>
            <p:cNvGrpSpPr/>
            <p:nvPr/>
          </p:nvGrpSpPr>
          <p:grpSpPr>
            <a:xfrm>
              <a:off x="5954544" y="2709313"/>
              <a:ext cx="1785808" cy="3455991"/>
              <a:chOff x="6948264" y="3086152"/>
              <a:chExt cx="1515397" cy="3060000"/>
            </a:xfrm>
          </p:grpSpPr>
          <p:pic>
            <p:nvPicPr>
              <p:cNvPr id="37" name="図 36">
                <a:extLst>
                  <a:ext uri="{FF2B5EF4-FFF2-40B4-BE49-F238E27FC236}">
                    <a16:creationId xmlns:a16="http://schemas.microsoft.com/office/drawing/2014/main" id="{B77996EB-0FFE-C5E3-70A0-F22CBDE90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48264" y="3086152"/>
                <a:ext cx="1515397" cy="3060000"/>
              </a:xfrm>
              <a:prstGeom prst="rect">
                <a:avLst/>
              </a:prstGeom>
            </p:spPr>
          </p:pic>
          <p:pic>
            <p:nvPicPr>
              <p:cNvPr id="38" name="図 37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71F1D144-6493-E448-EC3C-D0C92EE931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34561" y="3423249"/>
                <a:ext cx="1329668" cy="2365036"/>
              </a:xfrm>
              <a:prstGeom prst="rect">
                <a:avLst/>
              </a:prstGeom>
            </p:spPr>
          </p:pic>
        </p:grpSp>
        <p:grpSp>
          <p:nvGrpSpPr>
            <p:cNvPr id="34" name="グループ化 33">
              <a:extLst>
                <a:ext uri="{FF2B5EF4-FFF2-40B4-BE49-F238E27FC236}">
                  <a16:creationId xmlns:a16="http://schemas.microsoft.com/office/drawing/2014/main" id="{813657CB-8BFC-DEF8-8027-14815BC1D886}"/>
                </a:ext>
              </a:extLst>
            </p:cNvPr>
            <p:cNvGrpSpPr/>
            <p:nvPr/>
          </p:nvGrpSpPr>
          <p:grpSpPr>
            <a:xfrm>
              <a:off x="6063485" y="3090033"/>
              <a:ext cx="1566937" cy="2671093"/>
              <a:chOff x="2644151" y="0"/>
              <a:chExt cx="3855697" cy="6858000"/>
            </a:xfrm>
          </p:grpSpPr>
          <p:pic>
            <p:nvPicPr>
              <p:cNvPr id="35" name="図 34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4F49DE97-C180-37B7-4758-7DA4C72939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644151" y="0"/>
                <a:ext cx="3855697" cy="6858000"/>
              </a:xfrm>
              <a:prstGeom prst="rect">
                <a:avLst/>
              </a:prstGeom>
            </p:spPr>
          </p:pic>
          <p:pic>
            <p:nvPicPr>
              <p:cNvPr id="36" name="図 35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9EC61E24-5127-B0FC-A176-F744D1A5F42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32312" r="55783" b="97122"/>
              <a:stretch/>
            </p:blipFill>
            <p:spPr>
              <a:xfrm>
                <a:off x="2915816" y="3176"/>
                <a:ext cx="387040" cy="166423"/>
              </a:xfrm>
              <a:prstGeom prst="rect">
                <a:avLst/>
              </a:prstGeom>
            </p:spPr>
          </p:pic>
        </p:grp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A33EF21-2E77-BD50-C2C9-2DAB5A19D8E2}"/>
              </a:ext>
            </a:extLst>
          </p:cNvPr>
          <p:cNvGrpSpPr/>
          <p:nvPr/>
        </p:nvGrpSpPr>
        <p:grpSpPr>
          <a:xfrm>
            <a:off x="1184007" y="2261524"/>
            <a:ext cx="2322101" cy="4493854"/>
            <a:chOff x="993989" y="2755891"/>
            <a:chExt cx="1785808" cy="3455991"/>
          </a:xfrm>
        </p:grpSpPr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5B3877B6-976C-EBE2-5755-F0919C760645}"/>
                </a:ext>
              </a:extLst>
            </p:cNvPr>
            <p:cNvSpPr txBox="1"/>
            <p:nvPr/>
          </p:nvSpPr>
          <p:spPr>
            <a:xfrm>
              <a:off x="1403289" y="3485984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grpSp>
          <p:nvGrpSpPr>
            <p:cNvPr id="14" name="グループ化 13">
              <a:extLst>
                <a:ext uri="{FF2B5EF4-FFF2-40B4-BE49-F238E27FC236}">
                  <a16:creationId xmlns:a16="http://schemas.microsoft.com/office/drawing/2014/main" id="{E13C884F-A874-C2F8-2805-4599FEE2F774}"/>
                </a:ext>
              </a:extLst>
            </p:cNvPr>
            <p:cNvGrpSpPr/>
            <p:nvPr/>
          </p:nvGrpSpPr>
          <p:grpSpPr>
            <a:xfrm>
              <a:off x="993989" y="2755891"/>
              <a:ext cx="1785808" cy="3455991"/>
              <a:chOff x="6948264" y="3086152"/>
              <a:chExt cx="1515397" cy="3060000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E0C60BCE-9719-7E05-5091-800FC8DEEE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48264" y="3086152"/>
                <a:ext cx="1515397" cy="3060000"/>
              </a:xfrm>
              <a:prstGeom prst="rect">
                <a:avLst/>
              </a:prstGeom>
            </p:spPr>
          </p:pic>
          <p:pic>
            <p:nvPicPr>
              <p:cNvPr id="24" name="図 23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B607FBBD-1784-2458-B280-7E4223B17A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34561" y="3423249"/>
                <a:ext cx="1329668" cy="2365036"/>
              </a:xfrm>
              <a:prstGeom prst="rect">
                <a:avLst/>
              </a:prstGeom>
            </p:spPr>
          </p:pic>
        </p:grpSp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86D41021-786C-79B8-D112-2BE65C148465}"/>
                </a:ext>
              </a:extLst>
            </p:cNvPr>
            <p:cNvGrpSpPr/>
            <p:nvPr/>
          </p:nvGrpSpPr>
          <p:grpSpPr>
            <a:xfrm>
              <a:off x="1093405" y="3136611"/>
              <a:ext cx="1566937" cy="2671093"/>
              <a:chOff x="2620713" y="0"/>
              <a:chExt cx="3855697" cy="6858000"/>
            </a:xfrm>
          </p:grpSpPr>
          <p:pic>
            <p:nvPicPr>
              <p:cNvPr id="18" name="図 17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927D309E-C5DD-A30D-E9F4-D658B3515E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620713" y="0"/>
                <a:ext cx="3855697" cy="6858000"/>
              </a:xfrm>
              <a:prstGeom prst="rect">
                <a:avLst/>
              </a:prstGeom>
            </p:spPr>
          </p:pic>
          <p:pic>
            <p:nvPicPr>
              <p:cNvPr id="21" name="図 20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9AA4135C-22D0-79BB-F5DE-09ED94D3A0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32312" r="55783" b="97122"/>
              <a:stretch/>
            </p:blipFill>
            <p:spPr>
              <a:xfrm>
                <a:off x="2915816" y="3176"/>
                <a:ext cx="387040" cy="166423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切るとき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56392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135818" y="1391516"/>
            <a:ext cx="277781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464707" y="1393221"/>
            <a:ext cx="3428467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ライドで電源オフ</a:t>
            </a: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左から右にスライドすると電源が切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8861A4A-D059-7E5F-69FF-A93F85ED56CF}"/>
              </a:ext>
            </a:extLst>
          </p:cNvPr>
          <p:cNvSpPr txBox="1"/>
          <p:nvPr/>
        </p:nvSpPr>
        <p:spPr>
          <a:xfrm>
            <a:off x="49273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pic>
        <p:nvPicPr>
          <p:cNvPr id="6" name="図 5" descr="電源ボタンがある側面の画像">
            <a:extLst>
              <a:ext uri="{FF2B5EF4-FFF2-40B4-BE49-F238E27FC236}">
                <a16:creationId xmlns:a16="http://schemas.microsoft.com/office/drawing/2014/main" id="{1AEFD54D-3724-CCF8-047C-DA9C98BCC960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3725420" y="2919850"/>
            <a:ext cx="298672" cy="1027309"/>
          </a:xfrm>
          <a:prstGeom prst="rect">
            <a:avLst/>
          </a:prstGeom>
        </p:spPr>
      </p:pic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64D2EC4C-7639-D499-62B2-E86BD39B2B73}"/>
              </a:ext>
            </a:extLst>
          </p:cNvPr>
          <p:cNvSpPr/>
          <p:nvPr/>
        </p:nvSpPr>
        <p:spPr>
          <a:xfrm>
            <a:off x="3394073" y="3166919"/>
            <a:ext cx="189095" cy="63673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8F24DE57-D6A0-D110-C5C5-DED8882351A7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3488621" y="2933700"/>
            <a:ext cx="250259" cy="23321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F5380B51-4831-148C-3B7D-21E5ED8133C3}"/>
              </a:ext>
            </a:extLst>
          </p:cNvPr>
          <p:cNvCxnSpPr>
            <a:cxnSpLocks/>
          </p:cNvCxnSpPr>
          <p:nvPr/>
        </p:nvCxnSpPr>
        <p:spPr>
          <a:xfrm>
            <a:off x="3539174" y="38251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4831C63-317A-BE13-BB32-842DFB4E7B18}"/>
              </a:ext>
            </a:extLst>
          </p:cNvPr>
          <p:cNvSpPr txBox="1"/>
          <p:nvPr/>
        </p:nvSpPr>
        <p:spPr>
          <a:xfrm>
            <a:off x="4068271" y="331647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80022206-0F79-2C2F-8BA9-FA57A5AD296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字幕 14">
            <a:extLst>
              <a:ext uri="{FF2B5EF4-FFF2-40B4-BE49-F238E27FC236}">
                <a16:creationId xmlns:a16="http://schemas.microsoft.com/office/drawing/2014/main" id="{69660FC3-B534-9C41-1306-27E5DA37BF1B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06E2DB4D-B1B8-8168-3FE8-2FD69692765E}"/>
              </a:ext>
            </a:extLst>
          </p:cNvPr>
          <p:cNvSpPr/>
          <p:nvPr/>
        </p:nvSpPr>
        <p:spPr>
          <a:xfrm>
            <a:off x="5965605" y="2964325"/>
            <a:ext cx="1979941" cy="54830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上矢印 81">
            <a:extLst>
              <a:ext uri="{FF2B5EF4-FFF2-40B4-BE49-F238E27FC236}">
                <a16:creationId xmlns:a16="http://schemas.microsoft.com/office/drawing/2014/main" id="{5DF2AF4C-D360-4D7B-0F3B-526FF58DF79E}"/>
              </a:ext>
            </a:extLst>
          </p:cNvPr>
          <p:cNvSpPr>
            <a:spLocks/>
          </p:cNvSpPr>
          <p:nvPr/>
        </p:nvSpPr>
        <p:spPr>
          <a:xfrm rot="5400000">
            <a:off x="6962767" y="2972886"/>
            <a:ext cx="507405" cy="1441894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CE057B7-66A5-C99D-8FA4-DDF13918EB3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2661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31" tIns="45715" rIns="91431" bIns="45715" rtlCol="0" anchor="t">
        <a:spAutoFit/>
      </a:bodyPr>
      <a:lstStyle>
        <a:defPPr algn="l">
          <a:lnSpc>
            <a:spcPct val="130000"/>
          </a:lnSpc>
          <a:defRPr sz="1800" dirty="0">
            <a:solidFill>
              <a:prstClr val="black"/>
            </a:solidFill>
            <a:latin typeface="BIZ UDPゴシック" panose="020B0400000000000000" pitchFamily="50" charset="-128"/>
            <a:ea typeface="BIZ UDPゴシック" panose="020B04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bf344255bbe02639e698b8bc647e6d9c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c9495fd9b6367b6023c581ca679b4f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82E5F8F-C206-4D75-A8CD-DE5254644E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3AC4FD-093C-4182-AE13-497EEF17CEDB}"/>
</file>

<file path=customXml/itemProps3.xml><?xml version="1.0" encoding="utf-8"?>
<ds:datastoreItem xmlns:ds="http://schemas.openxmlformats.org/officeDocument/2006/customXml" ds:itemID="{125D09F0-9935-4EB6-A36C-8043B7D0A8FC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2c894bec-798d-4cf3-95d8-8ea6401a7b86"/>
    <ds:schemaRef ds:uri="http://schemas.microsoft.com/office/infopath/2007/PartnerControls"/>
    <ds:schemaRef ds:uri="079a4871-f4a2-4665-9954-203da50962a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50</TotalTime>
  <Words>1364</Words>
  <Application>Microsoft Office PowerPoint</Application>
  <PresentationFormat>画面に合わせる (4:3)</PresentationFormat>
  <Paragraphs>373</Paragraphs>
  <Slides>29</Slides>
  <Notes>29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9</vt:i4>
      </vt:variant>
    </vt:vector>
  </HeadingPairs>
  <TitlesOfParts>
    <vt:vector size="36" baseType="lpstr">
      <vt:lpstr>BIZ UDPゴシック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1-A</vt:lpstr>
      <vt:lpstr>1-A</vt:lpstr>
      <vt:lpstr>1-B</vt:lpstr>
      <vt:lpstr>1-B</vt:lpstr>
      <vt:lpstr>スリープモードにする</vt:lpstr>
      <vt:lpstr>1-C</vt:lpstr>
      <vt:lpstr>1-C</vt:lpstr>
      <vt:lpstr>PowerPoint プレゼンテーション</vt:lpstr>
      <vt:lpstr>PowerPoint プレゼンテーション</vt:lpstr>
      <vt:lpstr>2-B</vt:lpstr>
      <vt:lpstr>2-B</vt:lpstr>
      <vt:lpstr>2-B</vt:lpstr>
      <vt:lpstr>2-C</vt:lpstr>
      <vt:lpstr>2-C</vt:lpstr>
      <vt:lpstr>2-C</vt:lpstr>
      <vt:lpstr>2-C</vt:lpstr>
      <vt:lpstr>PowerPoint プレゼンテーション</vt:lpstr>
      <vt:lpstr>2-E</vt:lpstr>
      <vt:lpstr>2-E</vt:lpstr>
      <vt:lpstr>2-E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齋藤 将大</dc:creator>
  <cp:lastModifiedBy>佐藤 悠哉</cp:lastModifiedBy>
  <cp:revision>17</cp:revision>
  <cp:lastPrinted>2025-03-22T07:05:58Z</cp:lastPrinted>
  <dcterms:created xsi:type="dcterms:W3CDTF">2024-07-07T09:06:49Z</dcterms:created>
  <dcterms:modified xsi:type="dcterms:W3CDTF">2025-04-04T01:2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MediaServiceImageTags">
    <vt:lpwstr/>
  </property>
</Properties>
</file>